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  <p:sldMasterId id="2147483678" r:id="rId2"/>
  </p:sldMasterIdLst>
  <p:notesMasterIdLst>
    <p:notesMasterId r:id="rId16"/>
  </p:notesMasterIdLst>
  <p:sldIdLst>
    <p:sldId id="318" r:id="rId3"/>
    <p:sldId id="257" r:id="rId4"/>
    <p:sldId id="401" r:id="rId5"/>
    <p:sldId id="754" r:id="rId6"/>
    <p:sldId id="755" r:id="rId7"/>
    <p:sldId id="756" r:id="rId8"/>
    <p:sldId id="757" r:id="rId9"/>
    <p:sldId id="758" r:id="rId10"/>
    <p:sldId id="759" r:id="rId11"/>
    <p:sldId id="760" r:id="rId12"/>
    <p:sldId id="761" r:id="rId13"/>
    <p:sldId id="762" r:id="rId14"/>
    <p:sldId id="753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0733DC9-11DB-9143-BF7F-88360F7E05E4}">
          <p14:sldIdLst>
            <p14:sldId id="318"/>
            <p14:sldId id="257"/>
            <p14:sldId id="401"/>
            <p14:sldId id="754"/>
            <p14:sldId id="755"/>
            <p14:sldId id="756"/>
            <p14:sldId id="757"/>
            <p14:sldId id="758"/>
            <p14:sldId id="759"/>
            <p14:sldId id="760"/>
            <p14:sldId id="761"/>
            <p14:sldId id="762"/>
            <p14:sldId id="75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  <a:srgbClr val="DBEE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120"/>
    <p:restoredTop sz="94880"/>
  </p:normalViewPr>
  <p:slideViewPr>
    <p:cSldViewPr snapToGrid="0" snapToObjects="1">
      <p:cViewPr varScale="1">
        <p:scale>
          <a:sx n="153" d="100"/>
          <a:sy n="153" d="100"/>
        </p:scale>
        <p:origin x="1064" y="3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8403FB-5F7B-5242-885D-B9FD425C6B50}" type="datetimeFigureOut">
              <a:rPr lang="en-US" smtClean="0"/>
              <a:t>6/5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B4393C-06DF-8B44-8129-B0073AEFA5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8094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1"/>
            <a:ext cx="10363200" cy="3616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5/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55" b="0" i="0">
                <a:solidFill>
                  <a:srgbClr val="898989"/>
                </a:solidFill>
                <a:latin typeface="Tahoma"/>
                <a:cs typeface="Tahoma"/>
              </a:defRPr>
            </a:lvl1pPr>
          </a:lstStyle>
          <a:p>
            <a:pPr marL="21720">
              <a:lnSpc>
                <a:spcPts val="898"/>
              </a:lnSpc>
            </a:pPr>
            <a:fld id="{81D60167-4931-47E6-BA6A-407CBD079E47}" type="slidenum">
              <a:rPr lang="en-US" spc="17" smtClean="0"/>
              <a:pPr marL="21720">
                <a:lnSpc>
                  <a:spcPts val="898"/>
                </a:lnSpc>
              </a:pPr>
              <a:t>‹#›</a:t>
            </a:fld>
            <a:endParaRPr lang="en-US" spc="17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8B484E1-7B77-A944-A78D-E1ABD6907A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00519">
            <a:off x="-296373" y="-969476"/>
            <a:ext cx="4423551" cy="374404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9A16CE7-20C5-F14E-A757-616E4D7C1D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3336152">
            <a:off x="8753449" y="3999261"/>
            <a:ext cx="4423551" cy="3744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411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52688" y="1025623"/>
            <a:ext cx="10486625" cy="309187"/>
          </a:xfrm>
        </p:spPr>
        <p:txBody>
          <a:bodyPr lIns="0" tIns="0" rIns="0" bIns="0"/>
          <a:lstStyle>
            <a:lvl1pPr>
              <a:defRPr sz="2009" b="0" i="0">
                <a:solidFill>
                  <a:srgbClr val="002060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5/18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55" b="0" i="0">
                <a:solidFill>
                  <a:srgbClr val="898989"/>
                </a:solidFill>
                <a:latin typeface="Tahoma"/>
                <a:cs typeface="Tahoma"/>
              </a:defRPr>
            </a:lvl1pPr>
          </a:lstStyle>
          <a:p>
            <a:pPr marL="21720">
              <a:lnSpc>
                <a:spcPts val="898"/>
              </a:lnSpc>
            </a:pPr>
            <a:fld id="{81D60167-4931-47E6-BA6A-407CBD079E47}" type="slidenum">
              <a:rPr lang="en-US" spc="17" smtClean="0"/>
              <a:pPr marL="21720">
                <a:lnSpc>
                  <a:spcPts val="898"/>
                </a:lnSpc>
              </a:pPr>
              <a:t>‹#›</a:t>
            </a:fld>
            <a:endParaRPr lang="en-US" spc="17" dirty="0"/>
          </a:p>
        </p:txBody>
      </p:sp>
      <p:sp>
        <p:nvSpPr>
          <p:cNvPr id="7" name="bk object 16">
            <a:extLst>
              <a:ext uri="{FF2B5EF4-FFF2-40B4-BE49-F238E27FC236}">
                <a16:creationId xmlns:a16="http://schemas.microsoft.com/office/drawing/2014/main" id="{6EB8B839-7A0F-1949-8C21-43C6A6469910}"/>
              </a:ext>
            </a:extLst>
          </p:cNvPr>
          <p:cNvSpPr/>
          <p:nvPr userDrawn="1"/>
        </p:nvSpPr>
        <p:spPr>
          <a:xfrm>
            <a:off x="10266187" y="119376"/>
            <a:ext cx="1811272" cy="61252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/>
          </a:p>
        </p:txBody>
      </p:sp>
    </p:spTree>
    <p:extLst>
      <p:ext uri="{BB962C8B-B14F-4D97-AF65-F5344CB8AC3E}">
        <p14:creationId xmlns:p14="http://schemas.microsoft.com/office/powerpoint/2010/main" val="2026992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5/18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55" b="0" i="0">
                <a:solidFill>
                  <a:srgbClr val="898989"/>
                </a:solidFill>
                <a:latin typeface="Tahoma"/>
                <a:cs typeface="Tahoma"/>
              </a:defRPr>
            </a:lvl1pPr>
          </a:lstStyle>
          <a:p>
            <a:pPr marL="21720">
              <a:lnSpc>
                <a:spcPts val="898"/>
              </a:lnSpc>
            </a:pPr>
            <a:fld id="{81D60167-4931-47E6-BA6A-407CBD079E47}" type="slidenum">
              <a:rPr lang="en-US" spc="17" smtClean="0"/>
              <a:pPr marL="21720">
                <a:lnSpc>
                  <a:spcPts val="898"/>
                </a:lnSpc>
              </a:pPr>
              <a:t>‹#›</a:t>
            </a:fld>
            <a:endParaRPr lang="en-US" spc="17" dirty="0"/>
          </a:p>
        </p:txBody>
      </p:sp>
      <p:sp>
        <p:nvSpPr>
          <p:cNvPr id="6" name="bk object 16">
            <a:extLst>
              <a:ext uri="{FF2B5EF4-FFF2-40B4-BE49-F238E27FC236}">
                <a16:creationId xmlns:a16="http://schemas.microsoft.com/office/drawing/2014/main" id="{30FDCE9C-3436-B544-992E-0648B54A56B6}"/>
              </a:ext>
            </a:extLst>
          </p:cNvPr>
          <p:cNvSpPr/>
          <p:nvPr userDrawn="1"/>
        </p:nvSpPr>
        <p:spPr>
          <a:xfrm>
            <a:off x="10266187" y="119376"/>
            <a:ext cx="1811272" cy="61252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/>
          </a:p>
        </p:txBody>
      </p:sp>
    </p:spTree>
    <p:extLst>
      <p:ext uri="{BB962C8B-B14F-4D97-AF65-F5344CB8AC3E}">
        <p14:creationId xmlns:p14="http://schemas.microsoft.com/office/powerpoint/2010/main" val="14523596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4658FDC-A1BC-3E42-A086-D8E918943B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88"/>
          <a:stretch/>
        </p:blipFill>
        <p:spPr>
          <a:xfrm>
            <a:off x="1" y="-17601"/>
            <a:ext cx="12205692" cy="68756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AB41D5-1ADF-1947-94F4-3AD4F9CBE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7F4FAD-B78B-7D49-AD86-00D65CF853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B2CC4E-F188-AE4D-9A8B-4063420C234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6/5/18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594E81-DDDD-6B49-BE73-2C54BCDE4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1720">
              <a:lnSpc>
                <a:spcPts val="898"/>
              </a:lnSpc>
            </a:pPr>
            <a:fld id="{81D60167-4931-47E6-BA6A-407CBD079E47}" type="slidenum">
              <a:rPr lang="en-MY" spc="17" smtClean="0"/>
              <a:pPr marL="21720">
                <a:lnSpc>
                  <a:spcPts val="898"/>
                </a:lnSpc>
              </a:pPr>
              <a:t>‹#›</a:t>
            </a:fld>
            <a:endParaRPr lang="en-MY" spc="17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19C3B2-83A1-BE44-9E72-4CAE9A2A4B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00519">
            <a:off x="-296373" y="-969476"/>
            <a:ext cx="4423551" cy="374404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9677009-0514-A44A-9D1F-B22DE2BDAC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3336152">
            <a:off x="8753449" y="3999261"/>
            <a:ext cx="4423551" cy="3744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516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52688" y="1025623"/>
            <a:ext cx="10486625" cy="309187"/>
          </a:xfrm>
        </p:spPr>
        <p:txBody>
          <a:bodyPr lIns="0" tIns="0" rIns="0" bIns="0"/>
          <a:lstStyle>
            <a:lvl1pPr>
              <a:defRPr sz="2009" b="0" i="0">
                <a:solidFill>
                  <a:srgbClr val="002060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612646" y="2439464"/>
            <a:ext cx="8966709" cy="157864"/>
          </a:xfrm>
        </p:spPr>
        <p:txBody>
          <a:bodyPr lIns="0" tIns="0" rIns="0" bIns="0"/>
          <a:lstStyle>
            <a:lvl1pPr>
              <a:defRPr sz="1026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5/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55" b="0" i="0">
                <a:solidFill>
                  <a:srgbClr val="898989"/>
                </a:solidFill>
                <a:latin typeface="Tahoma"/>
                <a:cs typeface="Tahoma"/>
              </a:defRPr>
            </a:lvl1pPr>
          </a:lstStyle>
          <a:p>
            <a:pPr marL="21720">
              <a:lnSpc>
                <a:spcPts val="898"/>
              </a:lnSpc>
            </a:pPr>
            <a:fld id="{81D60167-4931-47E6-BA6A-407CBD079E47}" type="slidenum">
              <a:rPr lang="en-US" spc="17" smtClean="0"/>
              <a:pPr marL="21720">
                <a:lnSpc>
                  <a:spcPts val="898"/>
                </a:lnSpc>
              </a:pPr>
              <a:t>‹#›</a:t>
            </a:fld>
            <a:endParaRPr lang="en-US" spc="17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FEF4C4-23CD-0249-BF42-C8331B5F24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00519">
            <a:off x="-296373" y="-969476"/>
            <a:ext cx="4423551" cy="374404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FDEAD02-6F86-894A-A90A-DCBE67CA1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3336152">
            <a:off x="8753449" y="3999261"/>
            <a:ext cx="4423551" cy="3744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3712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0350701" y="146884"/>
            <a:ext cx="1811272" cy="61252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17" name="bk object 17"/>
          <p:cNvSpPr/>
          <p:nvPr/>
        </p:nvSpPr>
        <p:spPr>
          <a:xfrm>
            <a:off x="3462383" y="2572511"/>
            <a:ext cx="540096" cy="392461"/>
          </a:xfrm>
          <a:custGeom>
            <a:avLst/>
            <a:gdLst/>
            <a:ahLst/>
            <a:cxnLst/>
            <a:rect l="l" t="t" r="r" b="b"/>
            <a:pathLst>
              <a:path w="473710" h="432435">
                <a:moveTo>
                  <a:pt x="0" y="216103"/>
                </a:moveTo>
                <a:lnTo>
                  <a:pt x="4812" y="259652"/>
                </a:lnTo>
                <a:lnTo>
                  <a:pt x="18613" y="300214"/>
                </a:lnTo>
                <a:lnTo>
                  <a:pt x="40451" y="336920"/>
                </a:lnTo>
                <a:lnTo>
                  <a:pt x="69373" y="368901"/>
                </a:lnTo>
                <a:lnTo>
                  <a:pt x="104427" y="395288"/>
                </a:lnTo>
                <a:lnTo>
                  <a:pt x="144660" y="415212"/>
                </a:lnTo>
                <a:lnTo>
                  <a:pt x="189120" y="427803"/>
                </a:lnTo>
                <a:lnTo>
                  <a:pt x="236854" y="432193"/>
                </a:lnTo>
                <a:lnTo>
                  <a:pt x="284589" y="427803"/>
                </a:lnTo>
                <a:lnTo>
                  <a:pt x="329049" y="415212"/>
                </a:lnTo>
                <a:lnTo>
                  <a:pt x="369282" y="395288"/>
                </a:lnTo>
                <a:lnTo>
                  <a:pt x="404336" y="368901"/>
                </a:lnTo>
                <a:lnTo>
                  <a:pt x="433258" y="336920"/>
                </a:lnTo>
                <a:lnTo>
                  <a:pt x="455096" y="300214"/>
                </a:lnTo>
                <a:lnTo>
                  <a:pt x="468897" y="259652"/>
                </a:lnTo>
                <a:lnTo>
                  <a:pt x="473709" y="216103"/>
                </a:lnTo>
                <a:lnTo>
                  <a:pt x="468897" y="172549"/>
                </a:lnTo>
                <a:lnTo>
                  <a:pt x="455096" y="131984"/>
                </a:lnTo>
                <a:lnTo>
                  <a:pt x="433258" y="95276"/>
                </a:lnTo>
                <a:lnTo>
                  <a:pt x="404336" y="63293"/>
                </a:lnTo>
                <a:lnTo>
                  <a:pt x="369282" y="36905"/>
                </a:lnTo>
                <a:lnTo>
                  <a:pt x="329049" y="16981"/>
                </a:lnTo>
                <a:lnTo>
                  <a:pt x="284589" y="4390"/>
                </a:lnTo>
                <a:lnTo>
                  <a:pt x="236854" y="0"/>
                </a:lnTo>
                <a:lnTo>
                  <a:pt x="189120" y="4390"/>
                </a:lnTo>
                <a:lnTo>
                  <a:pt x="144660" y="16981"/>
                </a:lnTo>
                <a:lnTo>
                  <a:pt x="104427" y="36905"/>
                </a:lnTo>
                <a:lnTo>
                  <a:pt x="69373" y="63293"/>
                </a:lnTo>
                <a:lnTo>
                  <a:pt x="40451" y="95276"/>
                </a:lnTo>
                <a:lnTo>
                  <a:pt x="18613" y="131984"/>
                </a:lnTo>
                <a:lnTo>
                  <a:pt x="4812" y="172549"/>
                </a:lnTo>
                <a:lnTo>
                  <a:pt x="0" y="216103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18" name="bk object 18"/>
          <p:cNvSpPr/>
          <p:nvPr/>
        </p:nvSpPr>
        <p:spPr>
          <a:xfrm>
            <a:off x="3462383" y="2572511"/>
            <a:ext cx="540096" cy="392461"/>
          </a:xfrm>
          <a:custGeom>
            <a:avLst/>
            <a:gdLst/>
            <a:ahLst/>
            <a:cxnLst/>
            <a:rect l="l" t="t" r="r" b="b"/>
            <a:pathLst>
              <a:path w="473710" h="432435">
                <a:moveTo>
                  <a:pt x="0" y="216100"/>
                </a:moveTo>
                <a:lnTo>
                  <a:pt x="4812" y="172548"/>
                </a:lnTo>
                <a:lnTo>
                  <a:pt x="18613" y="131984"/>
                </a:lnTo>
                <a:lnTo>
                  <a:pt x="40451" y="95276"/>
                </a:lnTo>
                <a:lnTo>
                  <a:pt x="69373" y="63294"/>
                </a:lnTo>
                <a:lnTo>
                  <a:pt x="104427" y="36906"/>
                </a:lnTo>
                <a:lnTo>
                  <a:pt x="144661" y="16982"/>
                </a:lnTo>
                <a:lnTo>
                  <a:pt x="189121" y="4390"/>
                </a:lnTo>
                <a:lnTo>
                  <a:pt x="236856" y="0"/>
                </a:lnTo>
                <a:lnTo>
                  <a:pt x="284591" y="4390"/>
                </a:lnTo>
                <a:lnTo>
                  <a:pt x="329051" y="16982"/>
                </a:lnTo>
                <a:lnTo>
                  <a:pt x="369285" y="36906"/>
                </a:lnTo>
                <a:lnTo>
                  <a:pt x="404339" y="63294"/>
                </a:lnTo>
                <a:lnTo>
                  <a:pt x="433261" y="95276"/>
                </a:lnTo>
                <a:lnTo>
                  <a:pt x="455099" y="131984"/>
                </a:lnTo>
                <a:lnTo>
                  <a:pt x="468901" y="172548"/>
                </a:lnTo>
                <a:lnTo>
                  <a:pt x="473713" y="216100"/>
                </a:lnTo>
                <a:lnTo>
                  <a:pt x="468901" y="259652"/>
                </a:lnTo>
                <a:lnTo>
                  <a:pt x="455099" y="300216"/>
                </a:lnTo>
                <a:lnTo>
                  <a:pt x="433261" y="336924"/>
                </a:lnTo>
                <a:lnTo>
                  <a:pt x="404339" y="368906"/>
                </a:lnTo>
                <a:lnTo>
                  <a:pt x="369285" y="395294"/>
                </a:lnTo>
                <a:lnTo>
                  <a:pt x="329051" y="415218"/>
                </a:lnTo>
                <a:lnTo>
                  <a:pt x="284591" y="427810"/>
                </a:lnTo>
                <a:lnTo>
                  <a:pt x="236856" y="432200"/>
                </a:lnTo>
                <a:lnTo>
                  <a:pt x="189121" y="427810"/>
                </a:lnTo>
                <a:lnTo>
                  <a:pt x="144661" y="415218"/>
                </a:lnTo>
                <a:lnTo>
                  <a:pt x="104427" y="395294"/>
                </a:lnTo>
                <a:lnTo>
                  <a:pt x="69373" y="368906"/>
                </a:lnTo>
                <a:lnTo>
                  <a:pt x="40451" y="336924"/>
                </a:lnTo>
                <a:lnTo>
                  <a:pt x="18613" y="300216"/>
                </a:lnTo>
                <a:lnTo>
                  <a:pt x="4812" y="259652"/>
                </a:lnTo>
                <a:lnTo>
                  <a:pt x="0" y="216100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19" name="bk object 19"/>
          <p:cNvSpPr/>
          <p:nvPr/>
        </p:nvSpPr>
        <p:spPr>
          <a:xfrm>
            <a:off x="6613292" y="2670620"/>
            <a:ext cx="669691" cy="479484"/>
          </a:xfrm>
          <a:custGeom>
            <a:avLst/>
            <a:gdLst/>
            <a:ahLst/>
            <a:cxnLst/>
            <a:rect l="l" t="t" r="r" b="b"/>
            <a:pathLst>
              <a:path w="587375" h="528320">
                <a:moveTo>
                  <a:pt x="0" y="263969"/>
                </a:moveTo>
                <a:lnTo>
                  <a:pt x="3840" y="306785"/>
                </a:lnTo>
                <a:lnTo>
                  <a:pt x="14957" y="347403"/>
                </a:lnTo>
                <a:lnTo>
                  <a:pt x="32747" y="385277"/>
                </a:lnTo>
                <a:lnTo>
                  <a:pt x="56607" y="419865"/>
                </a:lnTo>
                <a:lnTo>
                  <a:pt x="85932" y="450622"/>
                </a:lnTo>
                <a:lnTo>
                  <a:pt x="120119" y="477007"/>
                </a:lnTo>
                <a:lnTo>
                  <a:pt x="158562" y="498474"/>
                </a:lnTo>
                <a:lnTo>
                  <a:pt x="200659" y="514481"/>
                </a:lnTo>
                <a:lnTo>
                  <a:pt x="245804" y="524484"/>
                </a:lnTo>
                <a:lnTo>
                  <a:pt x="293395" y="527939"/>
                </a:lnTo>
                <a:lnTo>
                  <a:pt x="340986" y="524484"/>
                </a:lnTo>
                <a:lnTo>
                  <a:pt x="386132" y="514481"/>
                </a:lnTo>
                <a:lnTo>
                  <a:pt x="428230" y="498474"/>
                </a:lnTo>
                <a:lnTo>
                  <a:pt x="466676" y="477007"/>
                </a:lnTo>
                <a:lnTo>
                  <a:pt x="500864" y="450622"/>
                </a:lnTo>
                <a:lnTo>
                  <a:pt x="530191" y="419865"/>
                </a:lnTo>
                <a:lnTo>
                  <a:pt x="554052" y="385277"/>
                </a:lnTo>
                <a:lnTo>
                  <a:pt x="571844" y="347403"/>
                </a:lnTo>
                <a:lnTo>
                  <a:pt x="582963" y="306785"/>
                </a:lnTo>
                <a:lnTo>
                  <a:pt x="586803" y="263969"/>
                </a:lnTo>
                <a:lnTo>
                  <a:pt x="582963" y="221153"/>
                </a:lnTo>
                <a:lnTo>
                  <a:pt x="571844" y="180535"/>
                </a:lnTo>
                <a:lnTo>
                  <a:pt x="554052" y="142661"/>
                </a:lnTo>
                <a:lnTo>
                  <a:pt x="530191" y="108073"/>
                </a:lnTo>
                <a:lnTo>
                  <a:pt x="500864" y="77316"/>
                </a:lnTo>
                <a:lnTo>
                  <a:pt x="466676" y="50931"/>
                </a:lnTo>
                <a:lnTo>
                  <a:pt x="428230" y="29464"/>
                </a:lnTo>
                <a:lnTo>
                  <a:pt x="386132" y="13457"/>
                </a:lnTo>
                <a:lnTo>
                  <a:pt x="340986" y="3454"/>
                </a:lnTo>
                <a:lnTo>
                  <a:pt x="293395" y="0"/>
                </a:lnTo>
                <a:lnTo>
                  <a:pt x="245804" y="3454"/>
                </a:lnTo>
                <a:lnTo>
                  <a:pt x="200659" y="13457"/>
                </a:lnTo>
                <a:lnTo>
                  <a:pt x="158562" y="29464"/>
                </a:lnTo>
                <a:lnTo>
                  <a:pt x="120119" y="50931"/>
                </a:lnTo>
                <a:lnTo>
                  <a:pt x="85932" y="77316"/>
                </a:lnTo>
                <a:lnTo>
                  <a:pt x="56607" y="108073"/>
                </a:lnTo>
                <a:lnTo>
                  <a:pt x="32747" y="142661"/>
                </a:lnTo>
                <a:lnTo>
                  <a:pt x="14957" y="180535"/>
                </a:lnTo>
                <a:lnTo>
                  <a:pt x="3840" y="221153"/>
                </a:lnTo>
                <a:lnTo>
                  <a:pt x="0" y="263969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0" name="bk object 20"/>
          <p:cNvSpPr/>
          <p:nvPr/>
        </p:nvSpPr>
        <p:spPr>
          <a:xfrm>
            <a:off x="6613292" y="2670620"/>
            <a:ext cx="669691" cy="479484"/>
          </a:xfrm>
          <a:custGeom>
            <a:avLst/>
            <a:gdLst/>
            <a:ahLst/>
            <a:cxnLst/>
            <a:rect l="l" t="t" r="r" b="b"/>
            <a:pathLst>
              <a:path w="587375" h="528320">
                <a:moveTo>
                  <a:pt x="0" y="263968"/>
                </a:moveTo>
                <a:lnTo>
                  <a:pt x="3840" y="221151"/>
                </a:lnTo>
                <a:lnTo>
                  <a:pt x="14957" y="180534"/>
                </a:lnTo>
                <a:lnTo>
                  <a:pt x="32748" y="142660"/>
                </a:lnTo>
                <a:lnTo>
                  <a:pt x="56608" y="108072"/>
                </a:lnTo>
                <a:lnTo>
                  <a:pt x="85934" y="77314"/>
                </a:lnTo>
                <a:lnTo>
                  <a:pt x="120121" y="50930"/>
                </a:lnTo>
                <a:lnTo>
                  <a:pt x="158564" y="29463"/>
                </a:lnTo>
                <a:lnTo>
                  <a:pt x="200661" y="13457"/>
                </a:lnTo>
                <a:lnTo>
                  <a:pt x="245807" y="3454"/>
                </a:lnTo>
                <a:lnTo>
                  <a:pt x="293397" y="0"/>
                </a:lnTo>
                <a:lnTo>
                  <a:pt x="340988" y="3454"/>
                </a:lnTo>
                <a:lnTo>
                  <a:pt x="386134" y="13457"/>
                </a:lnTo>
                <a:lnTo>
                  <a:pt x="428231" y="29463"/>
                </a:lnTo>
                <a:lnTo>
                  <a:pt x="466674" y="50930"/>
                </a:lnTo>
                <a:lnTo>
                  <a:pt x="500861" y="77314"/>
                </a:lnTo>
                <a:lnTo>
                  <a:pt x="530187" y="108072"/>
                </a:lnTo>
                <a:lnTo>
                  <a:pt x="554047" y="142660"/>
                </a:lnTo>
                <a:lnTo>
                  <a:pt x="571838" y="180534"/>
                </a:lnTo>
                <a:lnTo>
                  <a:pt x="582955" y="221151"/>
                </a:lnTo>
                <a:lnTo>
                  <a:pt x="586795" y="263968"/>
                </a:lnTo>
                <a:lnTo>
                  <a:pt x="582955" y="306785"/>
                </a:lnTo>
                <a:lnTo>
                  <a:pt x="571838" y="347403"/>
                </a:lnTo>
                <a:lnTo>
                  <a:pt x="554047" y="385277"/>
                </a:lnTo>
                <a:lnTo>
                  <a:pt x="530187" y="419865"/>
                </a:lnTo>
                <a:lnTo>
                  <a:pt x="500861" y="450622"/>
                </a:lnTo>
                <a:lnTo>
                  <a:pt x="466674" y="477006"/>
                </a:lnTo>
                <a:lnTo>
                  <a:pt x="428231" y="498473"/>
                </a:lnTo>
                <a:lnTo>
                  <a:pt x="386134" y="514480"/>
                </a:lnTo>
                <a:lnTo>
                  <a:pt x="340988" y="524482"/>
                </a:lnTo>
                <a:lnTo>
                  <a:pt x="293397" y="527937"/>
                </a:lnTo>
                <a:lnTo>
                  <a:pt x="245807" y="524482"/>
                </a:lnTo>
                <a:lnTo>
                  <a:pt x="200661" y="514480"/>
                </a:lnTo>
                <a:lnTo>
                  <a:pt x="158564" y="498473"/>
                </a:lnTo>
                <a:lnTo>
                  <a:pt x="120121" y="477006"/>
                </a:lnTo>
                <a:lnTo>
                  <a:pt x="85934" y="450622"/>
                </a:lnTo>
                <a:lnTo>
                  <a:pt x="56608" y="419865"/>
                </a:lnTo>
                <a:lnTo>
                  <a:pt x="32748" y="385277"/>
                </a:lnTo>
                <a:lnTo>
                  <a:pt x="14957" y="347403"/>
                </a:lnTo>
                <a:lnTo>
                  <a:pt x="3840" y="306785"/>
                </a:lnTo>
                <a:lnTo>
                  <a:pt x="0" y="263968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1" name="bk object 21"/>
          <p:cNvSpPr/>
          <p:nvPr/>
        </p:nvSpPr>
        <p:spPr>
          <a:xfrm>
            <a:off x="3873363" y="3651742"/>
            <a:ext cx="540821" cy="392461"/>
          </a:xfrm>
          <a:custGeom>
            <a:avLst/>
            <a:gdLst/>
            <a:ahLst/>
            <a:cxnLst/>
            <a:rect l="l" t="t" r="r" b="b"/>
            <a:pathLst>
              <a:path w="474345" h="432435">
                <a:moveTo>
                  <a:pt x="0" y="216103"/>
                </a:moveTo>
                <a:lnTo>
                  <a:pt x="4812" y="259653"/>
                </a:lnTo>
                <a:lnTo>
                  <a:pt x="18613" y="300216"/>
                </a:lnTo>
                <a:lnTo>
                  <a:pt x="40452" y="336924"/>
                </a:lnTo>
                <a:lnTo>
                  <a:pt x="69375" y="368908"/>
                </a:lnTo>
                <a:lnTo>
                  <a:pt x="104430" y="395297"/>
                </a:lnTo>
                <a:lnTo>
                  <a:pt x="144666" y="415222"/>
                </a:lnTo>
                <a:lnTo>
                  <a:pt x="189129" y="427815"/>
                </a:lnTo>
                <a:lnTo>
                  <a:pt x="236867" y="432206"/>
                </a:lnTo>
                <a:lnTo>
                  <a:pt x="284601" y="427815"/>
                </a:lnTo>
                <a:lnTo>
                  <a:pt x="329061" y="415222"/>
                </a:lnTo>
                <a:lnTo>
                  <a:pt x="369294" y="395297"/>
                </a:lnTo>
                <a:lnTo>
                  <a:pt x="404348" y="368908"/>
                </a:lnTo>
                <a:lnTo>
                  <a:pt x="433271" y="336924"/>
                </a:lnTo>
                <a:lnTo>
                  <a:pt x="455109" y="300216"/>
                </a:lnTo>
                <a:lnTo>
                  <a:pt x="468910" y="259653"/>
                </a:lnTo>
                <a:lnTo>
                  <a:pt x="473722" y="216103"/>
                </a:lnTo>
                <a:lnTo>
                  <a:pt x="468910" y="172549"/>
                </a:lnTo>
                <a:lnTo>
                  <a:pt x="455109" y="131984"/>
                </a:lnTo>
                <a:lnTo>
                  <a:pt x="433271" y="95276"/>
                </a:lnTo>
                <a:lnTo>
                  <a:pt x="404348" y="63293"/>
                </a:lnTo>
                <a:lnTo>
                  <a:pt x="369294" y="36905"/>
                </a:lnTo>
                <a:lnTo>
                  <a:pt x="329061" y="16981"/>
                </a:lnTo>
                <a:lnTo>
                  <a:pt x="284601" y="4390"/>
                </a:lnTo>
                <a:lnTo>
                  <a:pt x="236867" y="0"/>
                </a:lnTo>
                <a:lnTo>
                  <a:pt x="189129" y="4390"/>
                </a:lnTo>
                <a:lnTo>
                  <a:pt x="144666" y="16981"/>
                </a:lnTo>
                <a:lnTo>
                  <a:pt x="104430" y="36905"/>
                </a:lnTo>
                <a:lnTo>
                  <a:pt x="69375" y="63293"/>
                </a:lnTo>
                <a:lnTo>
                  <a:pt x="40452" y="95276"/>
                </a:lnTo>
                <a:lnTo>
                  <a:pt x="18613" y="131984"/>
                </a:lnTo>
                <a:lnTo>
                  <a:pt x="4812" y="172549"/>
                </a:lnTo>
                <a:lnTo>
                  <a:pt x="0" y="216103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2" name="bk object 22"/>
          <p:cNvSpPr/>
          <p:nvPr/>
        </p:nvSpPr>
        <p:spPr>
          <a:xfrm>
            <a:off x="3873363" y="3651742"/>
            <a:ext cx="540096" cy="392461"/>
          </a:xfrm>
          <a:custGeom>
            <a:avLst/>
            <a:gdLst/>
            <a:ahLst/>
            <a:cxnLst/>
            <a:rect l="l" t="t" r="r" b="b"/>
            <a:pathLst>
              <a:path w="473710" h="432435">
                <a:moveTo>
                  <a:pt x="0" y="216100"/>
                </a:moveTo>
                <a:lnTo>
                  <a:pt x="4812" y="172548"/>
                </a:lnTo>
                <a:lnTo>
                  <a:pt x="18613" y="131984"/>
                </a:lnTo>
                <a:lnTo>
                  <a:pt x="40451" y="95276"/>
                </a:lnTo>
                <a:lnTo>
                  <a:pt x="69373" y="63294"/>
                </a:lnTo>
                <a:lnTo>
                  <a:pt x="104427" y="36906"/>
                </a:lnTo>
                <a:lnTo>
                  <a:pt x="144661" y="16982"/>
                </a:lnTo>
                <a:lnTo>
                  <a:pt x="189121" y="4390"/>
                </a:lnTo>
                <a:lnTo>
                  <a:pt x="236856" y="0"/>
                </a:lnTo>
                <a:lnTo>
                  <a:pt x="284591" y="4390"/>
                </a:lnTo>
                <a:lnTo>
                  <a:pt x="329051" y="16982"/>
                </a:lnTo>
                <a:lnTo>
                  <a:pt x="369285" y="36906"/>
                </a:lnTo>
                <a:lnTo>
                  <a:pt x="404339" y="63294"/>
                </a:lnTo>
                <a:lnTo>
                  <a:pt x="433261" y="95276"/>
                </a:lnTo>
                <a:lnTo>
                  <a:pt x="455099" y="131984"/>
                </a:lnTo>
                <a:lnTo>
                  <a:pt x="468901" y="172548"/>
                </a:lnTo>
                <a:lnTo>
                  <a:pt x="473713" y="216100"/>
                </a:lnTo>
                <a:lnTo>
                  <a:pt x="468901" y="259652"/>
                </a:lnTo>
                <a:lnTo>
                  <a:pt x="455099" y="300216"/>
                </a:lnTo>
                <a:lnTo>
                  <a:pt x="433261" y="336924"/>
                </a:lnTo>
                <a:lnTo>
                  <a:pt x="404339" y="368906"/>
                </a:lnTo>
                <a:lnTo>
                  <a:pt x="369285" y="395294"/>
                </a:lnTo>
                <a:lnTo>
                  <a:pt x="329051" y="415218"/>
                </a:lnTo>
                <a:lnTo>
                  <a:pt x="284591" y="427810"/>
                </a:lnTo>
                <a:lnTo>
                  <a:pt x="236856" y="432200"/>
                </a:lnTo>
                <a:lnTo>
                  <a:pt x="189121" y="427810"/>
                </a:lnTo>
                <a:lnTo>
                  <a:pt x="144661" y="415218"/>
                </a:lnTo>
                <a:lnTo>
                  <a:pt x="104427" y="395294"/>
                </a:lnTo>
                <a:lnTo>
                  <a:pt x="69373" y="368906"/>
                </a:lnTo>
                <a:lnTo>
                  <a:pt x="40451" y="336924"/>
                </a:lnTo>
                <a:lnTo>
                  <a:pt x="18613" y="300216"/>
                </a:lnTo>
                <a:lnTo>
                  <a:pt x="4812" y="259652"/>
                </a:lnTo>
                <a:lnTo>
                  <a:pt x="0" y="216100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3" name="bk object 23"/>
          <p:cNvSpPr/>
          <p:nvPr/>
        </p:nvSpPr>
        <p:spPr>
          <a:xfrm>
            <a:off x="1407437" y="4338522"/>
            <a:ext cx="540096" cy="392461"/>
          </a:xfrm>
          <a:custGeom>
            <a:avLst/>
            <a:gdLst/>
            <a:ahLst/>
            <a:cxnLst/>
            <a:rect l="l" t="t" r="r" b="b"/>
            <a:pathLst>
              <a:path w="473710" h="432435">
                <a:moveTo>
                  <a:pt x="0" y="216103"/>
                </a:moveTo>
                <a:lnTo>
                  <a:pt x="4812" y="259656"/>
                </a:lnTo>
                <a:lnTo>
                  <a:pt x="18613" y="300222"/>
                </a:lnTo>
                <a:lnTo>
                  <a:pt x="40451" y="336930"/>
                </a:lnTo>
                <a:lnTo>
                  <a:pt x="69373" y="368912"/>
                </a:lnTo>
                <a:lnTo>
                  <a:pt x="104427" y="395300"/>
                </a:lnTo>
                <a:lnTo>
                  <a:pt x="144660" y="415224"/>
                </a:lnTo>
                <a:lnTo>
                  <a:pt x="189120" y="427816"/>
                </a:lnTo>
                <a:lnTo>
                  <a:pt x="236854" y="432206"/>
                </a:lnTo>
                <a:lnTo>
                  <a:pt x="284589" y="427816"/>
                </a:lnTo>
                <a:lnTo>
                  <a:pt x="329049" y="415224"/>
                </a:lnTo>
                <a:lnTo>
                  <a:pt x="369282" y="395300"/>
                </a:lnTo>
                <a:lnTo>
                  <a:pt x="404336" y="368912"/>
                </a:lnTo>
                <a:lnTo>
                  <a:pt x="433258" y="336930"/>
                </a:lnTo>
                <a:lnTo>
                  <a:pt x="455096" y="300222"/>
                </a:lnTo>
                <a:lnTo>
                  <a:pt x="468897" y="259656"/>
                </a:lnTo>
                <a:lnTo>
                  <a:pt x="473709" y="216103"/>
                </a:lnTo>
                <a:lnTo>
                  <a:pt x="468897" y="172553"/>
                </a:lnTo>
                <a:lnTo>
                  <a:pt x="455096" y="131989"/>
                </a:lnTo>
                <a:lnTo>
                  <a:pt x="433258" y="95281"/>
                </a:lnTo>
                <a:lnTo>
                  <a:pt x="404336" y="63298"/>
                </a:lnTo>
                <a:lnTo>
                  <a:pt x="369282" y="36909"/>
                </a:lnTo>
                <a:lnTo>
                  <a:pt x="329049" y="16983"/>
                </a:lnTo>
                <a:lnTo>
                  <a:pt x="284589" y="4390"/>
                </a:lnTo>
                <a:lnTo>
                  <a:pt x="236854" y="0"/>
                </a:lnTo>
                <a:lnTo>
                  <a:pt x="189120" y="4390"/>
                </a:lnTo>
                <a:lnTo>
                  <a:pt x="144660" y="16983"/>
                </a:lnTo>
                <a:lnTo>
                  <a:pt x="104427" y="36909"/>
                </a:lnTo>
                <a:lnTo>
                  <a:pt x="69373" y="63298"/>
                </a:lnTo>
                <a:lnTo>
                  <a:pt x="40451" y="95281"/>
                </a:lnTo>
                <a:lnTo>
                  <a:pt x="18613" y="131989"/>
                </a:lnTo>
                <a:lnTo>
                  <a:pt x="4812" y="172553"/>
                </a:lnTo>
                <a:lnTo>
                  <a:pt x="0" y="216103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4" name="bk object 24"/>
          <p:cNvSpPr/>
          <p:nvPr/>
        </p:nvSpPr>
        <p:spPr>
          <a:xfrm>
            <a:off x="1407437" y="4338522"/>
            <a:ext cx="540096" cy="392461"/>
          </a:xfrm>
          <a:custGeom>
            <a:avLst/>
            <a:gdLst/>
            <a:ahLst/>
            <a:cxnLst/>
            <a:rect l="l" t="t" r="r" b="b"/>
            <a:pathLst>
              <a:path w="473710" h="432435">
                <a:moveTo>
                  <a:pt x="0" y="216100"/>
                </a:moveTo>
                <a:lnTo>
                  <a:pt x="4812" y="172548"/>
                </a:lnTo>
                <a:lnTo>
                  <a:pt x="18613" y="131984"/>
                </a:lnTo>
                <a:lnTo>
                  <a:pt x="40451" y="95276"/>
                </a:lnTo>
                <a:lnTo>
                  <a:pt x="69373" y="63294"/>
                </a:lnTo>
                <a:lnTo>
                  <a:pt x="104427" y="36906"/>
                </a:lnTo>
                <a:lnTo>
                  <a:pt x="144661" y="16982"/>
                </a:lnTo>
                <a:lnTo>
                  <a:pt x="189121" y="4390"/>
                </a:lnTo>
                <a:lnTo>
                  <a:pt x="236856" y="0"/>
                </a:lnTo>
                <a:lnTo>
                  <a:pt x="284591" y="4390"/>
                </a:lnTo>
                <a:lnTo>
                  <a:pt x="329051" y="16982"/>
                </a:lnTo>
                <a:lnTo>
                  <a:pt x="369285" y="36906"/>
                </a:lnTo>
                <a:lnTo>
                  <a:pt x="404339" y="63294"/>
                </a:lnTo>
                <a:lnTo>
                  <a:pt x="433261" y="95276"/>
                </a:lnTo>
                <a:lnTo>
                  <a:pt x="455099" y="131984"/>
                </a:lnTo>
                <a:lnTo>
                  <a:pt x="468901" y="172548"/>
                </a:lnTo>
                <a:lnTo>
                  <a:pt x="473713" y="216100"/>
                </a:lnTo>
                <a:lnTo>
                  <a:pt x="468901" y="259652"/>
                </a:lnTo>
                <a:lnTo>
                  <a:pt x="455099" y="300216"/>
                </a:lnTo>
                <a:lnTo>
                  <a:pt x="433261" y="336924"/>
                </a:lnTo>
                <a:lnTo>
                  <a:pt x="404339" y="368906"/>
                </a:lnTo>
                <a:lnTo>
                  <a:pt x="369285" y="395294"/>
                </a:lnTo>
                <a:lnTo>
                  <a:pt x="329051" y="415218"/>
                </a:lnTo>
                <a:lnTo>
                  <a:pt x="284591" y="427810"/>
                </a:lnTo>
                <a:lnTo>
                  <a:pt x="236856" y="432200"/>
                </a:lnTo>
                <a:lnTo>
                  <a:pt x="189121" y="427810"/>
                </a:lnTo>
                <a:lnTo>
                  <a:pt x="144661" y="415218"/>
                </a:lnTo>
                <a:lnTo>
                  <a:pt x="104427" y="395294"/>
                </a:lnTo>
                <a:lnTo>
                  <a:pt x="69373" y="368906"/>
                </a:lnTo>
                <a:lnTo>
                  <a:pt x="40451" y="336924"/>
                </a:lnTo>
                <a:lnTo>
                  <a:pt x="18613" y="300216"/>
                </a:lnTo>
                <a:lnTo>
                  <a:pt x="4812" y="259652"/>
                </a:lnTo>
                <a:lnTo>
                  <a:pt x="0" y="216100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5" name="bk object 25"/>
          <p:cNvSpPr/>
          <p:nvPr/>
        </p:nvSpPr>
        <p:spPr>
          <a:xfrm>
            <a:off x="7298273" y="1591391"/>
            <a:ext cx="540096" cy="392461"/>
          </a:xfrm>
          <a:custGeom>
            <a:avLst/>
            <a:gdLst/>
            <a:ahLst/>
            <a:cxnLst/>
            <a:rect l="l" t="t" r="r" b="b"/>
            <a:pathLst>
              <a:path w="473709" h="432435">
                <a:moveTo>
                  <a:pt x="0" y="216103"/>
                </a:moveTo>
                <a:lnTo>
                  <a:pt x="4812" y="259652"/>
                </a:lnTo>
                <a:lnTo>
                  <a:pt x="18613" y="300214"/>
                </a:lnTo>
                <a:lnTo>
                  <a:pt x="40451" y="336920"/>
                </a:lnTo>
                <a:lnTo>
                  <a:pt x="69373" y="368901"/>
                </a:lnTo>
                <a:lnTo>
                  <a:pt x="104427" y="395288"/>
                </a:lnTo>
                <a:lnTo>
                  <a:pt x="144660" y="415212"/>
                </a:lnTo>
                <a:lnTo>
                  <a:pt x="189120" y="427803"/>
                </a:lnTo>
                <a:lnTo>
                  <a:pt x="236854" y="432193"/>
                </a:lnTo>
                <a:lnTo>
                  <a:pt x="284592" y="427803"/>
                </a:lnTo>
                <a:lnTo>
                  <a:pt x="329054" y="415212"/>
                </a:lnTo>
                <a:lnTo>
                  <a:pt x="369287" y="395288"/>
                </a:lnTo>
                <a:lnTo>
                  <a:pt x="404341" y="368901"/>
                </a:lnTo>
                <a:lnTo>
                  <a:pt x="433261" y="336920"/>
                </a:lnTo>
                <a:lnTo>
                  <a:pt x="455098" y="300214"/>
                </a:lnTo>
                <a:lnTo>
                  <a:pt x="468898" y="259652"/>
                </a:lnTo>
                <a:lnTo>
                  <a:pt x="473710" y="216103"/>
                </a:lnTo>
                <a:lnTo>
                  <a:pt x="468898" y="172549"/>
                </a:lnTo>
                <a:lnTo>
                  <a:pt x="455098" y="131984"/>
                </a:lnTo>
                <a:lnTo>
                  <a:pt x="433261" y="95276"/>
                </a:lnTo>
                <a:lnTo>
                  <a:pt x="404341" y="63293"/>
                </a:lnTo>
                <a:lnTo>
                  <a:pt x="369287" y="36905"/>
                </a:lnTo>
                <a:lnTo>
                  <a:pt x="329054" y="16981"/>
                </a:lnTo>
                <a:lnTo>
                  <a:pt x="284592" y="4390"/>
                </a:lnTo>
                <a:lnTo>
                  <a:pt x="236854" y="0"/>
                </a:lnTo>
                <a:lnTo>
                  <a:pt x="189120" y="4390"/>
                </a:lnTo>
                <a:lnTo>
                  <a:pt x="144660" y="16981"/>
                </a:lnTo>
                <a:lnTo>
                  <a:pt x="104427" y="36905"/>
                </a:lnTo>
                <a:lnTo>
                  <a:pt x="69373" y="63293"/>
                </a:lnTo>
                <a:lnTo>
                  <a:pt x="40451" y="95276"/>
                </a:lnTo>
                <a:lnTo>
                  <a:pt x="18613" y="131984"/>
                </a:lnTo>
                <a:lnTo>
                  <a:pt x="4812" y="172549"/>
                </a:lnTo>
                <a:lnTo>
                  <a:pt x="0" y="216103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6" name="bk object 26"/>
          <p:cNvSpPr/>
          <p:nvPr/>
        </p:nvSpPr>
        <p:spPr>
          <a:xfrm>
            <a:off x="7298273" y="1591391"/>
            <a:ext cx="540096" cy="392461"/>
          </a:xfrm>
          <a:custGeom>
            <a:avLst/>
            <a:gdLst/>
            <a:ahLst/>
            <a:cxnLst/>
            <a:rect l="l" t="t" r="r" b="b"/>
            <a:pathLst>
              <a:path w="473709" h="432435">
                <a:moveTo>
                  <a:pt x="0" y="216100"/>
                </a:moveTo>
                <a:lnTo>
                  <a:pt x="4812" y="172548"/>
                </a:lnTo>
                <a:lnTo>
                  <a:pt x="18613" y="131984"/>
                </a:lnTo>
                <a:lnTo>
                  <a:pt x="40451" y="95276"/>
                </a:lnTo>
                <a:lnTo>
                  <a:pt x="69373" y="63294"/>
                </a:lnTo>
                <a:lnTo>
                  <a:pt x="104427" y="36906"/>
                </a:lnTo>
                <a:lnTo>
                  <a:pt x="144661" y="16982"/>
                </a:lnTo>
                <a:lnTo>
                  <a:pt x="189121" y="4390"/>
                </a:lnTo>
                <a:lnTo>
                  <a:pt x="236856" y="0"/>
                </a:lnTo>
                <a:lnTo>
                  <a:pt x="284591" y="4390"/>
                </a:lnTo>
                <a:lnTo>
                  <a:pt x="329051" y="16982"/>
                </a:lnTo>
                <a:lnTo>
                  <a:pt x="369285" y="36906"/>
                </a:lnTo>
                <a:lnTo>
                  <a:pt x="404339" y="63294"/>
                </a:lnTo>
                <a:lnTo>
                  <a:pt x="433261" y="95276"/>
                </a:lnTo>
                <a:lnTo>
                  <a:pt x="455099" y="131984"/>
                </a:lnTo>
                <a:lnTo>
                  <a:pt x="468901" y="172548"/>
                </a:lnTo>
                <a:lnTo>
                  <a:pt x="473713" y="216100"/>
                </a:lnTo>
                <a:lnTo>
                  <a:pt x="468901" y="259652"/>
                </a:lnTo>
                <a:lnTo>
                  <a:pt x="455099" y="300216"/>
                </a:lnTo>
                <a:lnTo>
                  <a:pt x="433261" y="336924"/>
                </a:lnTo>
                <a:lnTo>
                  <a:pt x="404339" y="368906"/>
                </a:lnTo>
                <a:lnTo>
                  <a:pt x="369285" y="395294"/>
                </a:lnTo>
                <a:lnTo>
                  <a:pt x="329051" y="415218"/>
                </a:lnTo>
                <a:lnTo>
                  <a:pt x="284591" y="427810"/>
                </a:lnTo>
                <a:lnTo>
                  <a:pt x="236856" y="432200"/>
                </a:lnTo>
                <a:lnTo>
                  <a:pt x="189121" y="427810"/>
                </a:lnTo>
                <a:lnTo>
                  <a:pt x="144661" y="415218"/>
                </a:lnTo>
                <a:lnTo>
                  <a:pt x="104427" y="395294"/>
                </a:lnTo>
                <a:lnTo>
                  <a:pt x="69373" y="368906"/>
                </a:lnTo>
                <a:lnTo>
                  <a:pt x="40451" y="336924"/>
                </a:lnTo>
                <a:lnTo>
                  <a:pt x="18613" y="300216"/>
                </a:lnTo>
                <a:lnTo>
                  <a:pt x="4812" y="259652"/>
                </a:lnTo>
                <a:lnTo>
                  <a:pt x="0" y="216100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7" name="bk object 27"/>
          <p:cNvSpPr/>
          <p:nvPr/>
        </p:nvSpPr>
        <p:spPr>
          <a:xfrm>
            <a:off x="5517329" y="4667129"/>
            <a:ext cx="363443" cy="260489"/>
          </a:xfrm>
          <a:custGeom>
            <a:avLst/>
            <a:gdLst/>
            <a:ahLst/>
            <a:cxnLst/>
            <a:rect l="l" t="t" r="r" b="b"/>
            <a:pathLst>
              <a:path w="318770" h="287020">
                <a:moveTo>
                  <a:pt x="0" y="143281"/>
                </a:moveTo>
                <a:lnTo>
                  <a:pt x="8118" y="188570"/>
                </a:lnTo>
                <a:lnTo>
                  <a:pt x="30725" y="227902"/>
                </a:lnTo>
                <a:lnTo>
                  <a:pt x="65197" y="258918"/>
                </a:lnTo>
                <a:lnTo>
                  <a:pt x="108911" y="279258"/>
                </a:lnTo>
                <a:lnTo>
                  <a:pt x="159245" y="286562"/>
                </a:lnTo>
                <a:lnTo>
                  <a:pt x="209579" y="279258"/>
                </a:lnTo>
                <a:lnTo>
                  <a:pt x="253297" y="258918"/>
                </a:lnTo>
                <a:lnTo>
                  <a:pt x="287773" y="227902"/>
                </a:lnTo>
                <a:lnTo>
                  <a:pt x="310383" y="188570"/>
                </a:lnTo>
                <a:lnTo>
                  <a:pt x="318503" y="143281"/>
                </a:lnTo>
                <a:lnTo>
                  <a:pt x="310383" y="97992"/>
                </a:lnTo>
                <a:lnTo>
                  <a:pt x="287773" y="58660"/>
                </a:lnTo>
                <a:lnTo>
                  <a:pt x="253297" y="27644"/>
                </a:lnTo>
                <a:lnTo>
                  <a:pt x="209579" y="7304"/>
                </a:lnTo>
                <a:lnTo>
                  <a:pt x="159245" y="0"/>
                </a:lnTo>
                <a:lnTo>
                  <a:pt x="108911" y="7304"/>
                </a:lnTo>
                <a:lnTo>
                  <a:pt x="65197" y="27644"/>
                </a:lnTo>
                <a:lnTo>
                  <a:pt x="30725" y="58660"/>
                </a:lnTo>
                <a:lnTo>
                  <a:pt x="8118" y="97992"/>
                </a:lnTo>
                <a:lnTo>
                  <a:pt x="0" y="143281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8" name="bk object 28"/>
          <p:cNvSpPr/>
          <p:nvPr/>
        </p:nvSpPr>
        <p:spPr>
          <a:xfrm>
            <a:off x="5517329" y="4667129"/>
            <a:ext cx="363443" cy="260489"/>
          </a:xfrm>
          <a:custGeom>
            <a:avLst/>
            <a:gdLst/>
            <a:ahLst/>
            <a:cxnLst/>
            <a:rect l="l" t="t" r="r" b="b"/>
            <a:pathLst>
              <a:path w="318770" h="287020">
                <a:moveTo>
                  <a:pt x="0" y="143277"/>
                </a:moveTo>
                <a:lnTo>
                  <a:pt x="8118" y="97990"/>
                </a:lnTo>
                <a:lnTo>
                  <a:pt x="30726" y="58659"/>
                </a:lnTo>
                <a:lnTo>
                  <a:pt x="65199" y="27644"/>
                </a:lnTo>
                <a:lnTo>
                  <a:pt x="108914" y="7304"/>
                </a:lnTo>
                <a:lnTo>
                  <a:pt x="159250" y="0"/>
                </a:lnTo>
                <a:lnTo>
                  <a:pt x="209585" y="7304"/>
                </a:lnTo>
                <a:lnTo>
                  <a:pt x="253301" y="27644"/>
                </a:lnTo>
                <a:lnTo>
                  <a:pt x="287775" y="58659"/>
                </a:lnTo>
                <a:lnTo>
                  <a:pt x="310382" y="97990"/>
                </a:lnTo>
                <a:lnTo>
                  <a:pt x="318501" y="143277"/>
                </a:lnTo>
                <a:lnTo>
                  <a:pt x="310382" y="188563"/>
                </a:lnTo>
                <a:lnTo>
                  <a:pt x="287775" y="227894"/>
                </a:lnTo>
                <a:lnTo>
                  <a:pt x="253301" y="258909"/>
                </a:lnTo>
                <a:lnTo>
                  <a:pt x="209585" y="279249"/>
                </a:lnTo>
                <a:lnTo>
                  <a:pt x="159250" y="286554"/>
                </a:lnTo>
                <a:lnTo>
                  <a:pt x="108914" y="279249"/>
                </a:lnTo>
                <a:lnTo>
                  <a:pt x="65199" y="258909"/>
                </a:lnTo>
                <a:lnTo>
                  <a:pt x="30726" y="227894"/>
                </a:lnTo>
                <a:lnTo>
                  <a:pt x="8118" y="188563"/>
                </a:lnTo>
                <a:lnTo>
                  <a:pt x="0" y="143277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9" name="bk object 29"/>
          <p:cNvSpPr/>
          <p:nvPr/>
        </p:nvSpPr>
        <p:spPr>
          <a:xfrm>
            <a:off x="7983255" y="4927203"/>
            <a:ext cx="274392" cy="196519"/>
          </a:xfrm>
          <a:custGeom>
            <a:avLst/>
            <a:gdLst/>
            <a:ahLst/>
            <a:cxnLst/>
            <a:rect l="l" t="t" r="r" b="b"/>
            <a:pathLst>
              <a:path w="240665" h="216535">
                <a:moveTo>
                  <a:pt x="0" y="108102"/>
                </a:moveTo>
                <a:lnTo>
                  <a:pt x="9442" y="150180"/>
                </a:lnTo>
                <a:lnTo>
                  <a:pt x="35193" y="184542"/>
                </a:lnTo>
                <a:lnTo>
                  <a:pt x="73385" y="207709"/>
                </a:lnTo>
                <a:lnTo>
                  <a:pt x="120154" y="216204"/>
                </a:lnTo>
                <a:lnTo>
                  <a:pt x="166928" y="207709"/>
                </a:lnTo>
                <a:lnTo>
                  <a:pt x="205120" y="184542"/>
                </a:lnTo>
                <a:lnTo>
                  <a:pt x="230868" y="150180"/>
                </a:lnTo>
                <a:lnTo>
                  <a:pt x="240309" y="108102"/>
                </a:lnTo>
                <a:lnTo>
                  <a:pt x="230868" y="66024"/>
                </a:lnTo>
                <a:lnTo>
                  <a:pt x="205120" y="31662"/>
                </a:lnTo>
                <a:lnTo>
                  <a:pt x="166928" y="8495"/>
                </a:lnTo>
                <a:lnTo>
                  <a:pt x="120154" y="0"/>
                </a:lnTo>
                <a:lnTo>
                  <a:pt x="73385" y="8495"/>
                </a:lnTo>
                <a:lnTo>
                  <a:pt x="35193" y="31662"/>
                </a:lnTo>
                <a:lnTo>
                  <a:pt x="9442" y="66024"/>
                </a:lnTo>
                <a:lnTo>
                  <a:pt x="0" y="108102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0" name="bk object 30"/>
          <p:cNvSpPr/>
          <p:nvPr/>
        </p:nvSpPr>
        <p:spPr>
          <a:xfrm>
            <a:off x="7983255" y="4927203"/>
            <a:ext cx="274392" cy="196519"/>
          </a:xfrm>
          <a:custGeom>
            <a:avLst/>
            <a:gdLst/>
            <a:ahLst/>
            <a:cxnLst/>
            <a:rect l="l" t="t" r="r" b="b"/>
            <a:pathLst>
              <a:path w="240665" h="216535">
                <a:moveTo>
                  <a:pt x="0" y="108104"/>
                </a:moveTo>
                <a:lnTo>
                  <a:pt x="9442" y="66025"/>
                </a:lnTo>
                <a:lnTo>
                  <a:pt x="35193" y="31663"/>
                </a:lnTo>
                <a:lnTo>
                  <a:pt x="73386" y="8495"/>
                </a:lnTo>
                <a:lnTo>
                  <a:pt x="120157" y="0"/>
                </a:lnTo>
                <a:lnTo>
                  <a:pt x="166927" y="8495"/>
                </a:lnTo>
                <a:lnTo>
                  <a:pt x="205120" y="31663"/>
                </a:lnTo>
                <a:lnTo>
                  <a:pt x="230871" y="66025"/>
                </a:lnTo>
                <a:lnTo>
                  <a:pt x="240313" y="108104"/>
                </a:lnTo>
                <a:lnTo>
                  <a:pt x="230871" y="150183"/>
                </a:lnTo>
                <a:lnTo>
                  <a:pt x="205120" y="184546"/>
                </a:lnTo>
                <a:lnTo>
                  <a:pt x="166927" y="207714"/>
                </a:lnTo>
                <a:lnTo>
                  <a:pt x="120157" y="216209"/>
                </a:lnTo>
                <a:lnTo>
                  <a:pt x="73386" y="207714"/>
                </a:lnTo>
                <a:lnTo>
                  <a:pt x="35193" y="184546"/>
                </a:lnTo>
                <a:lnTo>
                  <a:pt x="9442" y="150183"/>
                </a:lnTo>
                <a:lnTo>
                  <a:pt x="0" y="108104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1" name="bk object 31"/>
          <p:cNvSpPr/>
          <p:nvPr/>
        </p:nvSpPr>
        <p:spPr>
          <a:xfrm>
            <a:off x="9490212" y="3259292"/>
            <a:ext cx="274392" cy="196519"/>
          </a:xfrm>
          <a:custGeom>
            <a:avLst/>
            <a:gdLst/>
            <a:ahLst/>
            <a:cxnLst/>
            <a:rect l="l" t="t" r="r" b="b"/>
            <a:pathLst>
              <a:path w="240665" h="216535">
                <a:moveTo>
                  <a:pt x="0" y="108102"/>
                </a:moveTo>
                <a:lnTo>
                  <a:pt x="9442" y="150187"/>
                </a:lnTo>
                <a:lnTo>
                  <a:pt x="35193" y="184553"/>
                </a:lnTo>
                <a:lnTo>
                  <a:pt x="73385" y="207721"/>
                </a:lnTo>
                <a:lnTo>
                  <a:pt x="120154" y="216217"/>
                </a:lnTo>
                <a:lnTo>
                  <a:pt x="166930" y="207721"/>
                </a:lnTo>
                <a:lnTo>
                  <a:pt x="205127" y="184553"/>
                </a:lnTo>
                <a:lnTo>
                  <a:pt x="230879" y="150187"/>
                </a:lnTo>
                <a:lnTo>
                  <a:pt x="240322" y="108102"/>
                </a:lnTo>
                <a:lnTo>
                  <a:pt x="230879" y="66024"/>
                </a:lnTo>
                <a:lnTo>
                  <a:pt x="205127" y="31662"/>
                </a:lnTo>
                <a:lnTo>
                  <a:pt x="166930" y="8495"/>
                </a:lnTo>
                <a:lnTo>
                  <a:pt x="120154" y="0"/>
                </a:lnTo>
                <a:lnTo>
                  <a:pt x="73385" y="8495"/>
                </a:lnTo>
                <a:lnTo>
                  <a:pt x="35193" y="31662"/>
                </a:lnTo>
                <a:lnTo>
                  <a:pt x="9442" y="66024"/>
                </a:lnTo>
                <a:lnTo>
                  <a:pt x="0" y="108102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2" name="bk object 32"/>
          <p:cNvSpPr/>
          <p:nvPr/>
        </p:nvSpPr>
        <p:spPr>
          <a:xfrm>
            <a:off x="9490212" y="3259292"/>
            <a:ext cx="274392" cy="196519"/>
          </a:xfrm>
          <a:custGeom>
            <a:avLst/>
            <a:gdLst/>
            <a:ahLst/>
            <a:cxnLst/>
            <a:rect l="l" t="t" r="r" b="b"/>
            <a:pathLst>
              <a:path w="240665" h="216535">
                <a:moveTo>
                  <a:pt x="0" y="108104"/>
                </a:moveTo>
                <a:lnTo>
                  <a:pt x="9442" y="66025"/>
                </a:lnTo>
                <a:lnTo>
                  <a:pt x="35193" y="31663"/>
                </a:lnTo>
                <a:lnTo>
                  <a:pt x="73386" y="8495"/>
                </a:lnTo>
                <a:lnTo>
                  <a:pt x="120157" y="0"/>
                </a:lnTo>
                <a:lnTo>
                  <a:pt x="166927" y="8495"/>
                </a:lnTo>
                <a:lnTo>
                  <a:pt x="205120" y="31663"/>
                </a:lnTo>
                <a:lnTo>
                  <a:pt x="230871" y="66025"/>
                </a:lnTo>
                <a:lnTo>
                  <a:pt x="240313" y="108104"/>
                </a:lnTo>
                <a:lnTo>
                  <a:pt x="230871" y="150183"/>
                </a:lnTo>
                <a:lnTo>
                  <a:pt x="205120" y="184546"/>
                </a:lnTo>
                <a:lnTo>
                  <a:pt x="166927" y="207714"/>
                </a:lnTo>
                <a:lnTo>
                  <a:pt x="120157" y="216209"/>
                </a:lnTo>
                <a:lnTo>
                  <a:pt x="73386" y="207714"/>
                </a:lnTo>
                <a:lnTo>
                  <a:pt x="35193" y="184546"/>
                </a:lnTo>
                <a:lnTo>
                  <a:pt x="9442" y="150183"/>
                </a:lnTo>
                <a:lnTo>
                  <a:pt x="0" y="108104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3" name="bk object 33"/>
          <p:cNvSpPr/>
          <p:nvPr/>
        </p:nvSpPr>
        <p:spPr>
          <a:xfrm>
            <a:off x="10997172" y="2081952"/>
            <a:ext cx="274392" cy="196519"/>
          </a:xfrm>
          <a:custGeom>
            <a:avLst/>
            <a:gdLst/>
            <a:ahLst/>
            <a:cxnLst/>
            <a:rect l="l" t="t" r="r" b="b"/>
            <a:pathLst>
              <a:path w="240665" h="216535">
                <a:moveTo>
                  <a:pt x="0" y="108102"/>
                </a:moveTo>
                <a:lnTo>
                  <a:pt x="9442" y="150180"/>
                </a:lnTo>
                <a:lnTo>
                  <a:pt x="35193" y="184542"/>
                </a:lnTo>
                <a:lnTo>
                  <a:pt x="73387" y="207709"/>
                </a:lnTo>
                <a:lnTo>
                  <a:pt x="120157" y="216204"/>
                </a:lnTo>
                <a:lnTo>
                  <a:pt x="166927" y="207709"/>
                </a:lnTo>
                <a:lnTo>
                  <a:pt x="205121" y="184542"/>
                </a:lnTo>
                <a:lnTo>
                  <a:pt x="230871" y="150180"/>
                </a:lnTo>
                <a:lnTo>
                  <a:pt x="240314" y="108102"/>
                </a:lnTo>
                <a:lnTo>
                  <a:pt x="230871" y="66024"/>
                </a:lnTo>
                <a:lnTo>
                  <a:pt x="205121" y="31662"/>
                </a:lnTo>
                <a:lnTo>
                  <a:pt x="166927" y="8495"/>
                </a:lnTo>
                <a:lnTo>
                  <a:pt x="120157" y="0"/>
                </a:lnTo>
                <a:lnTo>
                  <a:pt x="73387" y="8495"/>
                </a:lnTo>
                <a:lnTo>
                  <a:pt x="35193" y="31662"/>
                </a:lnTo>
                <a:lnTo>
                  <a:pt x="9442" y="66024"/>
                </a:lnTo>
                <a:lnTo>
                  <a:pt x="0" y="108102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4" name="bk object 34"/>
          <p:cNvSpPr/>
          <p:nvPr/>
        </p:nvSpPr>
        <p:spPr>
          <a:xfrm>
            <a:off x="10997172" y="2081952"/>
            <a:ext cx="274392" cy="196519"/>
          </a:xfrm>
          <a:custGeom>
            <a:avLst/>
            <a:gdLst/>
            <a:ahLst/>
            <a:cxnLst/>
            <a:rect l="l" t="t" r="r" b="b"/>
            <a:pathLst>
              <a:path w="240665" h="216535">
                <a:moveTo>
                  <a:pt x="0" y="108104"/>
                </a:moveTo>
                <a:lnTo>
                  <a:pt x="9442" y="66025"/>
                </a:lnTo>
                <a:lnTo>
                  <a:pt x="35193" y="31663"/>
                </a:lnTo>
                <a:lnTo>
                  <a:pt x="73386" y="8495"/>
                </a:lnTo>
                <a:lnTo>
                  <a:pt x="120157" y="0"/>
                </a:lnTo>
                <a:lnTo>
                  <a:pt x="166927" y="8495"/>
                </a:lnTo>
                <a:lnTo>
                  <a:pt x="205120" y="31663"/>
                </a:lnTo>
                <a:lnTo>
                  <a:pt x="230871" y="66025"/>
                </a:lnTo>
                <a:lnTo>
                  <a:pt x="240313" y="108104"/>
                </a:lnTo>
                <a:lnTo>
                  <a:pt x="230871" y="150183"/>
                </a:lnTo>
                <a:lnTo>
                  <a:pt x="205120" y="184546"/>
                </a:lnTo>
                <a:lnTo>
                  <a:pt x="166927" y="207714"/>
                </a:lnTo>
                <a:lnTo>
                  <a:pt x="120157" y="216209"/>
                </a:lnTo>
                <a:lnTo>
                  <a:pt x="73386" y="207714"/>
                </a:lnTo>
                <a:lnTo>
                  <a:pt x="35193" y="184546"/>
                </a:lnTo>
                <a:lnTo>
                  <a:pt x="9442" y="150183"/>
                </a:lnTo>
                <a:lnTo>
                  <a:pt x="0" y="108104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5" name="bk object 35"/>
          <p:cNvSpPr/>
          <p:nvPr/>
        </p:nvSpPr>
        <p:spPr>
          <a:xfrm>
            <a:off x="4002481" y="1787520"/>
            <a:ext cx="3296329" cy="981443"/>
          </a:xfrm>
          <a:custGeom>
            <a:avLst/>
            <a:gdLst/>
            <a:ahLst/>
            <a:cxnLst/>
            <a:rect l="l" t="t" r="r" b="b"/>
            <a:pathLst>
              <a:path w="2891154" h="1081405">
                <a:moveTo>
                  <a:pt x="0" y="1081047"/>
                </a:moveTo>
                <a:lnTo>
                  <a:pt x="2890685" y="0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6" name="bk object 36"/>
          <p:cNvSpPr/>
          <p:nvPr/>
        </p:nvSpPr>
        <p:spPr>
          <a:xfrm>
            <a:off x="5654323" y="5515873"/>
            <a:ext cx="274392" cy="196519"/>
          </a:xfrm>
          <a:custGeom>
            <a:avLst/>
            <a:gdLst/>
            <a:ahLst/>
            <a:cxnLst/>
            <a:rect l="l" t="t" r="r" b="b"/>
            <a:pathLst>
              <a:path w="240664" h="216535">
                <a:moveTo>
                  <a:pt x="0" y="108102"/>
                </a:moveTo>
                <a:lnTo>
                  <a:pt x="9442" y="150180"/>
                </a:lnTo>
                <a:lnTo>
                  <a:pt x="35193" y="184542"/>
                </a:lnTo>
                <a:lnTo>
                  <a:pt x="73385" y="207710"/>
                </a:lnTo>
                <a:lnTo>
                  <a:pt x="120154" y="216206"/>
                </a:lnTo>
                <a:lnTo>
                  <a:pt x="166923" y="207710"/>
                </a:lnTo>
                <a:lnTo>
                  <a:pt x="205116" y="184542"/>
                </a:lnTo>
                <a:lnTo>
                  <a:pt x="230866" y="150180"/>
                </a:lnTo>
                <a:lnTo>
                  <a:pt x="240309" y="108102"/>
                </a:lnTo>
                <a:lnTo>
                  <a:pt x="230866" y="66024"/>
                </a:lnTo>
                <a:lnTo>
                  <a:pt x="205116" y="31662"/>
                </a:lnTo>
                <a:lnTo>
                  <a:pt x="166923" y="8495"/>
                </a:lnTo>
                <a:lnTo>
                  <a:pt x="120154" y="0"/>
                </a:lnTo>
                <a:lnTo>
                  <a:pt x="73385" y="8495"/>
                </a:lnTo>
                <a:lnTo>
                  <a:pt x="35193" y="31662"/>
                </a:lnTo>
                <a:lnTo>
                  <a:pt x="9442" y="66024"/>
                </a:lnTo>
                <a:lnTo>
                  <a:pt x="0" y="108102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7" name="bk object 37"/>
          <p:cNvSpPr/>
          <p:nvPr/>
        </p:nvSpPr>
        <p:spPr>
          <a:xfrm>
            <a:off x="5654323" y="5515873"/>
            <a:ext cx="274392" cy="196519"/>
          </a:xfrm>
          <a:custGeom>
            <a:avLst/>
            <a:gdLst/>
            <a:ahLst/>
            <a:cxnLst/>
            <a:rect l="l" t="t" r="r" b="b"/>
            <a:pathLst>
              <a:path w="240664" h="216535">
                <a:moveTo>
                  <a:pt x="0" y="108104"/>
                </a:moveTo>
                <a:lnTo>
                  <a:pt x="9442" y="66025"/>
                </a:lnTo>
                <a:lnTo>
                  <a:pt x="35193" y="31663"/>
                </a:lnTo>
                <a:lnTo>
                  <a:pt x="73386" y="8495"/>
                </a:lnTo>
                <a:lnTo>
                  <a:pt x="120157" y="0"/>
                </a:lnTo>
                <a:lnTo>
                  <a:pt x="166927" y="8495"/>
                </a:lnTo>
                <a:lnTo>
                  <a:pt x="205120" y="31663"/>
                </a:lnTo>
                <a:lnTo>
                  <a:pt x="230871" y="66025"/>
                </a:lnTo>
                <a:lnTo>
                  <a:pt x="240313" y="108104"/>
                </a:lnTo>
                <a:lnTo>
                  <a:pt x="230871" y="150183"/>
                </a:lnTo>
                <a:lnTo>
                  <a:pt x="205120" y="184546"/>
                </a:lnTo>
                <a:lnTo>
                  <a:pt x="166927" y="207714"/>
                </a:lnTo>
                <a:lnTo>
                  <a:pt x="120157" y="216209"/>
                </a:lnTo>
                <a:lnTo>
                  <a:pt x="73386" y="207714"/>
                </a:lnTo>
                <a:lnTo>
                  <a:pt x="35193" y="184546"/>
                </a:lnTo>
                <a:lnTo>
                  <a:pt x="9442" y="150183"/>
                </a:lnTo>
                <a:lnTo>
                  <a:pt x="0" y="108104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8" name="bk object 38"/>
          <p:cNvSpPr/>
          <p:nvPr/>
        </p:nvSpPr>
        <p:spPr>
          <a:xfrm>
            <a:off x="4413476" y="3357407"/>
            <a:ext cx="5077345" cy="491010"/>
          </a:xfrm>
          <a:custGeom>
            <a:avLst/>
            <a:gdLst/>
            <a:ahLst/>
            <a:cxnLst/>
            <a:rect l="l" t="t" r="r" b="b"/>
            <a:pathLst>
              <a:path w="4453255" h="541020">
                <a:moveTo>
                  <a:pt x="0" y="540415"/>
                </a:moveTo>
                <a:lnTo>
                  <a:pt x="4452724" y="0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9" name="bk object 39"/>
          <p:cNvSpPr/>
          <p:nvPr/>
        </p:nvSpPr>
        <p:spPr>
          <a:xfrm>
            <a:off x="9724075" y="2249435"/>
            <a:ext cx="1313319" cy="1039073"/>
          </a:xfrm>
          <a:custGeom>
            <a:avLst/>
            <a:gdLst/>
            <a:ahLst/>
            <a:cxnLst/>
            <a:rect l="l" t="t" r="r" b="b"/>
            <a:pathLst>
              <a:path w="1151890" h="1144904">
                <a:moveTo>
                  <a:pt x="0" y="1144373"/>
                </a:moveTo>
                <a:lnTo>
                  <a:pt x="1151804" y="0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0" name="bk object 40"/>
          <p:cNvSpPr/>
          <p:nvPr/>
        </p:nvSpPr>
        <p:spPr>
          <a:xfrm>
            <a:off x="5698899" y="3079589"/>
            <a:ext cx="1012863" cy="1587713"/>
          </a:xfrm>
          <a:custGeom>
            <a:avLst/>
            <a:gdLst/>
            <a:ahLst/>
            <a:cxnLst/>
            <a:rect l="l" t="t" r="r" b="b"/>
            <a:pathLst>
              <a:path w="888364" h="1749425">
                <a:moveTo>
                  <a:pt x="887939" y="0"/>
                </a:moveTo>
                <a:lnTo>
                  <a:pt x="0" y="1749233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1" name="bk object 41"/>
          <p:cNvSpPr/>
          <p:nvPr/>
        </p:nvSpPr>
        <p:spPr>
          <a:xfrm>
            <a:off x="1947535" y="4534648"/>
            <a:ext cx="3569997" cy="262794"/>
          </a:xfrm>
          <a:custGeom>
            <a:avLst/>
            <a:gdLst/>
            <a:ahLst/>
            <a:cxnLst/>
            <a:rect l="l" t="t" r="r" b="b"/>
            <a:pathLst>
              <a:path w="3131185" h="289560">
                <a:moveTo>
                  <a:pt x="0" y="0"/>
                </a:moveTo>
                <a:lnTo>
                  <a:pt x="3130998" y="289251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2" name="bk object 42"/>
          <p:cNvSpPr/>
          <p:nvPr/>
        </p:nvSpPr>
        <p:spPr>
          <a:xfrm>
            <a:off x="1947540" y="3986549"/>
            <a:ext cx="2005453" cy="548640"/>
          </a:xfrm>
          <a:custGeom>
            <a:avLst/>
            <a:gdLst/>
            <a:ahLst/>
            <a:cxnLst/>
            <a:rect l="l" t="t" r="r" b="b"/>
            <a:pathLst>
              <a:path w="1758950" h="604520">
                <a:moveTo>
                  <a:pt x="1758487" y="0"/>
                </a:moveTo>
                <a:lnTo>
                  <a:pt x="0" y="603928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3" name="bk object 43"/>
          <p:cNvSpPr/>
          <p:nvPr/>
        </p:nvSpPr>
        <p:spPr>
          <a:xfrm>
            <a:off x="1677481" y="2907319"/>
            <a:ext cx="1864276" cy="1431535"/>
          </a:xfrm>
          <a:custGeom>
            <a:avLst/>
            <a:gdLst/>
            <a:ahLst/>
            <a:cxnLst/>
            <a:rect l="l" t="t" r="r" b="b"/>
            <a:pathLst>
              <a:path w="1635125" h="1577339">
                <a:moveTo>
                  <a:pt x="1634875" y="0"/>
                </a:moveTo>
                <a:lnTo>
                  <a:pt x="0" y="1576985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4" name="bk object 44"/>
          <p:cNvSpPr/>
          <p:nvPr/>
        </p:nvSpPr>
        <p:spPr>
          <a:xfrm>
            <a:off x="4334376" y="1926200"/>
            <a:ext cx="3043656" cy="1783079"/>
          </a:xfrm>
          <a:custGeom>
            <a:avLst/>
            <a:gdLst/>
            <a:ahLst/>
            <a:cxnLst/>
            <a:rect l="l" t="t" r="r" b="b"/>
            <a:pathLst>
              <a:path w="2669540" h="1964689">
                <a:moveTo>
                  <a:pt x="2668964" y="0"/>
                </a:moveTo>
                <a:lnTo>
                  <a:pt x="0" y="1964589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5" name="bk object 45"/>
          <p:cNvSpPr/>
          <p:nvPr/>
        </p:nvSpPr>
        <p:spPr>
          <a:xfrm>
            <a:off x="7184350" y="2180060"/>
            <a:ext cx="3813257" cy="560742"/>
          </a:xfrm>
          <a:custGeom>
            <a:avLst/>
            <a:gdLst/>
            <a:ahLst/>
            <a:cxnLst/>
            <a:rect l="l" t="t" r="r" b="b"/>
            <a:pathLst>
              <a:path w="3344545" h="617855">
                <a:moveTo>
                  <a:pt x="3344164" y="0"/>
                </a:moveTo>
                <a:lnTo>
                  <a:pt x="0" y="617839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6" name="bk object 46"/>
          <p:cNvSpPr/>
          <p:nvPr/>
        </p:nvSpPr>
        <p:spPr>
          <a:xfrm>
            <a:off x="7568323" y="1983634"/>
            <a:ext cx="552405" cy="2943753"/>
          </a:xfrm>
          <a:custGeom>
            <a:avLst/>
            <a:gdLst/>
            <a:ahLst/>
            <a:cxnLst/>
            <a:rect l="l" t="t" r="r" b="b"/>
            <a:pathLst>
              <a:path w="484504" h="3243579">
                <a:moveTo>
                  <a:pt x="0" y="0"/>
                </a:moveTo>
                <a:lnTo>
                  <a:pt x="484085" y="3243362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7" name="bk object 47"/>
          <p:cNvSpPr/>
          <p:nvPr/>
        </p:nvSpPr>
        <p:spPr>
          <a:xfrm>
            <a:off x="4413475" y="3847868"/>
            <a:ext cx="3569997" cy="1177962"/>
          </a:xfrm>
          <a:custGeom>
            <a:avLst/>
            <a:gdLst/>
            <a:ahLst/>
            <a:cxnLst/>
            <a:rect l="l" t="t" r="r" b="b"/>
            <a:pathLst>
              <a:path w="3131184" h="1297939">
                <a:moveTo>
                  <a:pt x="0" y="0"/>
                </a:moveTo>
                <a:lnTo>
                  <a:pt x="3130998" y="1297365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8" name="bk object 48"/>
          <p:cNvSpPr/>
          <p:nvPr/>
        </p:nvSpPr>
        <p:spPr>
          <a:xfrm>
            <a:off x="5880460" y="4797167"/>
            <a:ext cx="2103192" cy="228216"/>
          </a:xfrm>
          <a:custGeom>
            <a:avLst/>
            <a:gdLst/>
            <a:ahLst/>
            <a:cxnLst/>
            <a:rect l="l" t="t" r="r" b="b"/>
            <a:pathLst>
              <a:path w="1844675" h="251460">
                <a:moveTo>
                  <a:pt x="1844326" y="251381"/>
                </a:moveTo>
                <a:lnTo>
                  <a:pt x="0" y="0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9" name="bk object 49"/>
          <p:cNvSpPr/>
          <p:nvPr/>
        </p:nvSpPr>
        <p:spPr>
          <a:xfrm>
            <a:off x="5888185" y="3426775"/>
            <a:ext cx="3642396" cy="2117912"/>
          </a:xfrm>
          <a:custGeom>
            <a:avLst/>
            <a:gdLst/>
            <a:ahLst/>
            <a:cxnLst/>
            <a:rect l="l" t="t" r="r" b="b"/>
            <a:pathLst>
              <a:path w="3194684" h="2333625">
                <a:moveTo>
                  <a:pt x="3194470" y="0"/>
                </a:moveTo>
                <a:lnTo>
                  <a:pt x="0" y="2333533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50" name="bk object 50"/>
          <p:cNvSpPr/>
          <p:nvPr/>
        </p:nvSpPr>
        <p:spPr>
          <a:xfrm>
            <a:off x="5698891" y="4927203"/>
            <a:ext cx="92671" cy="588981"/>
          </a:xfrm>
          <a:custGeom>
            <a:avLst/>
            <a:gdLst/>
            <a:ahLst/>
            <a:cxnLst/>
            <a:rect l="l" t="t" r="r" b="b"/>
            <a:pathLst>
              <a:path w="81279" h="648970">
                <a:moveTo>
                  <a:pt x="0" y="0"/>
                </a:moveTo>
                <a:lnTo>
                  <a:pt x="81063" y="648629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52688" y="1025623"/>
            <a:ext cx="10486625" cy="309187"/>
          </a:xfrm>
        </p:spPr>
        <p:txBody>
          <a:bodyPr lIns="0" tIns="0" rIns="0" bIns="0"/>
          <a:lstStyle>
            <a:lvl1pPr>
              <a:defRPr sz="2009" b="0" i="0">
                <a:solidFill>
                  <a:srgbClr val="002060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5/18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55" b="0" i="0">
                <a:solidFill>
                  <a:srgbClr val="898989"/>
                </a:solidFill>
                <a:latin typeface="Tahoma"/>
                <a:cs typeface="Tahoma"/>
              </a:defRPr>
            </a:lvl1pPr>
          </a:lstStyle>
          <a:p>
            <a:pPr marL="21720">
              <a:lnSpc>
                <a:spcPts val="898"/>
              </a:lnSpc>
            </a:pPr>
            <a:fld id="{81D60167-4931-47E6-BA6A-407CBD079E47}" type="slidenum">
              <a:rPr lang="en-US" spc="17" smtClean="0"/>
              <a:pPr marL="21720">
                <a:lnSpc>
                  <a:spcPts val="898"/>
                </a:lnSpc>
              </a:pPr>
              <a:t>‹#›</a:t>
            </a:fld>
            <a:endParaRPr lang="en-US" spc="17" dirty="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B850C9E8-FCCD-644E-8DD1-0853067D5E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00519">
            <a:off x="-296373" y="-969476"/>
            <a:ext cx="4423551" cy="3744043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D9A95A0D-D15A-3543-8D80-92C46F4DE2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3336152">
            <a:off x="8753449" y="3999261"/>
            <a:ext cx="4423551" cy="3744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151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52688" y="1025623"/>
            <a:ext cx="10486625" cy="309187"/>
          </a:xfrm>
        </p:spPr>
        <p:txBody>
          <a:bodyPr lIns="0" tIns="0" rIns="0" bIns="0"/>
          <a:lstStyle>
            <a:lvl1pPr>
              <a:defRPr sz="2009" b="0" i="0">
                <a:solidFill>
                  <a:srgbClr val="002060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5/18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55" b="0" i="0">
                <a:solidFill>
                  <a:srgbClr val="898989"/>
                </a:solidFill>
                <a:latin typeface="Tahoma"/>
                <a:cs typeface="Tahoma"/>
              </a:defRPr>
            </a:lvl1pPr>
          </a:lstStyle>
          <a:p>
            <a:pPr marL="21720">
              <a:lnSpc>
                <a:spcPts val="898"/>
              </a:lnSpc>
            </a:pPr>
            <a:fld id="{81D60167-4931-47E6-BA6A-407CBD079E47}" type="slidenum">
              <a:rPr lang="en-US" spc="17" smtClean="0"/>
              <a:pPr marL="21720">
                <a:lnSpc>
                  <a:spcPts val="898"/>
                </a:lnSpc>
              </a:pPr>
              <a:t>‹#›</a:t>
            </a:fld>
            <a:endParaRPr lang="en-US" spc="17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00FECF-952C-2249-A366-179B79A929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00519">
            <a:off x="-296373" y="-969476"/>
            <a:ext cx="4423551" cy="374404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8EBC027-8BA8-8B48-A744-6442C6EFA1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3336152">
            <a:off x="8753449" y="3999261"/>
            <a:ext cx="4423551" cy="3744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811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5/18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55" b="0" i="0">
                <a:solidFill>
                  <a:srgbClr val="898989"/>
                </a:solidFill>
                <a:latin typeface="Tahoma"/>
                <a:cs typeface="Tahoma"/>
              </a:defRPr>
            </a:lvl1pPr>
          </a:lstStyle>
          <a:p>
            <a:pPr marL="21720">
              <a:lnSpc>
                <a:spcPts val="898"/>
              </a:lnSpc>
            </a:pPr>
            <a:fld id="{81D60167-4931-47E6-BA6A-407CBD079E47}" type="slidenum">
              <a:rPr lang="en-US" spc="17" smtClean="0"/>
              <a:pPr marL="21720">
                <a:lnSpc>
                  <a:spcPts val="898"/>
                </a:lnSpc>
              </a:pPr>
              <a:t>‹#›</a:t>
            </a:fld>
            <a:endParaRPr lang="en-US" spc="17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DB8D94-537A-4649-A7BF-9D90DD0E94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00519">
            <a:off x="-296373" y="-969476"/>
            <a:ext cx="4423551" cy="37440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EB4F580-CC8E-FD4A-AF68-CC0E62B86A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3336152">
            <a:off x="8753449" y="3999261"/>
            <a:ext cx="4423551" cy="3744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2755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865717" y="1555751"/>
            <a:ext cx="10464800" cy="12926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178413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1"/>
            <a:ext cx="10363200" cy="3616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5/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55" b="0" i="0">
                <a:solidFill>
                  <a:srgbClr val="898989"/>
                </a:solidFill>
                <a:latin typeface="Tahoma"/>
                <a:cs typeface="Tahoma"/>
              </a:defRPr>
            </a:lvl1pPr>
          </a:lstStyle>
          <a:p>
            <a:pPr marL="21720">
              <a:lnSpc>
                <a:spcPts val="898"/>
              </a:lnSpc>
            </a:pPr>
            <a:fld id="{81D60167-4931-47E6-BA6A-407CBD079E47}" type="slidenum">
              <a:rPr lang="en-US" spc="17" smtClean="0"/>
              <a:pPr marL="21720">
                <a:lnSpc>
                  <a:spcPts val="898"/>
                </a:lnSpc>
              </a:pPr>
              <a:t>‹#›</a:t>
            </a:fld>
            <a:endParaRPr lang="en-US" spc="17" dirty="0"/>
          </a:p>
        </p:txBody>
      </p:sp>
      <p:sp>
        <p:nvSpPr>
          <p:cNvPr id="7" name="bk object 16">
            <a:extLst>
              <a:ext uri="{FF2B5EF4-FFF2-40B4-BE49-F238E27FC236}">
                <a16:creationId xmlns:a16="http://schemas.microsoft.com/office/drawing/2014/main" id="{BA529F8E-9220-6446-9BA8-A5AB0B292638}"/>
              </a:ext>
            </a:extLst>
          </p:cNvPr>
          <p:cNvSpPr/>
          <p:nvPr userDrawn="1"/>
        </p:nvSpPr>
        <p:spPr>
          <a:xfrm>
            <a:off x="10266187" y="119376"/>
            <a:ext cx="1811272" cy="61252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/>
          </a:p>
        </p:txBody>
      </p:sp>
    </p:spTree>
    <p:extLst>
      <p:ext uri="{BB962C8B-B14F-4D97-AF65-F5344CB8AC3E}">
        <p14:creationId xmlns:p14="http://schemas.microsoft.com/office/powerpoint/2010/main" val="17974894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52688" y="1025623"/>
            <a:ext cx="10486625" cy="309187"/>
          </a:xfrm>
        </p:spPr>
        <p:txBody>
          <a:bodyPr lIns="0" tIns="0" rIns="0" bIns="0"/>
          <a:lstStyle>
            <a:lvl1pPr>
              <a:defRPr sz="2009" b="0" i="0">
                <a:solidFill>
                  <a:srgbClr val="002060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612646" y="2439464"/>
            <a:ext cx="8966709" cy="157864"/>
          </a:xfrm>
        </p:spPr>
        <p:txBody>
          <a:bodyPr lIns="0" tIns="0" rIns="0" bIns="0"/>
          <a:lstStyle>
            <a:lvl1pPr>
              <a:defRPr sz="1026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5/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55" b="0" i="0">
                <a:solidFill>
                  <a:srgbClr val="898989"/>
                </a:solidFill>
                <a:latin typeface="Tahoma"/>
                <a:cs typeface="Tahoma"/>
              </a:defRPr>
            </a:lvl1pPr>
          </a:lstStyle>
          <a:p>
            <a:pPr marL="21720">
              <a:lnSpc>
                <a:spcPts val="898"/>
              </a:lnSpc>
            </a:pPr>
            <a:fld id="{81D60167-4931-47E6-BA6A-407CBD079E47}" type="slidenum">
              <a:rPr lang="en-US" spc="17" smtClean="0"/>
              <a:pPr marL="21720">
                <a:lnSpc>
                  <a:spcPts val="898"/>
                </a:lnSpc>
              </a:pPr>
              <a:t>‹#›</a:t>
            </a:fld>
            <a:endParaRPr lang="en-US" spc="17" dirty="0"/>
          </a:p>
        </p:txBody>
      </p:sp>
      <p:sp>
        <p:nvSpPr>
          <p:cNvPr id="8" name="bk object 16">
            <a:extLst>
              <a:ext uri="{FF2B5EF4-FFF2-40B4-BE49-F238E27FC236}">
                <a16:creationId xmlns:a16="http://schemas.microsoft.com/office/drawing/2014/main" id="{095FA5C7-CA76-E448-AC38-8B8273E1650E}"/>
              </a:ext>
            </a:extLst>
          </p:cNvPr>
          <p:cNvSpPr/>
          <p:nvPr userDrawn="1"/>
        </p:nvSpPr>
        <p:spPr>
          <a:xfrm>
            <a:off x="10266187" y="119376"/>
            <a:ext cx="1811272" cy="61252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/>
          </a:p>
        </p:txBody>
      </p:sp>
    </p:spTree>
    <p:extLst>
      <p:ext uri="{BB962C8B-B14F-4D97-AF65-F5344CB8AC3E}">
        <p14:creationId xmlns:p14="http://schemas.microsoft.com/office/powerpoint/2010/main" val="35283998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k object 17"/>
          <p:cNvSpPr/>
          <p:nvPr/>
        </p:nvSpPr>
        <p:spPr>
          <a:xfrm>
            <a:off x="3462383" y="2572511"/>
            <a:ext cx="540096" cy="392461"/>
          </a:xfrm>
          <a:custGeom>
            <a:avLst/>
            <a:gdLst/>
            <a:ahLst/>
            <a:cxnLst/>
            <a:rect l="l" t="t" r="r" b="b"/>
            <a:pathLst>
              <a:path w="473710" h="432435">
                <a:moveTo>
                  <a:pt x="0" y="216103"/>
                </a:moveTo>
                <a:lnTo>
                  <a:pt x="4812" y="259652"/>
                </a:lnTo>
                <a:lnTo>
                  <a:pt x="18613" y="300214"/>
                </a:lnTo>
                <a:lnTo>
                  <a:pt x="40451" y="336920"/>
                </a:lnTo>
                <a:lnTo>
                  <a:pt x="69373" y="368901"/>
                </a:lnTo>
                <a:lnTo>
                  <a:pt x="104427" y="395288"/>
                </a:lnTo>
                <a:lnTo>
                  <a:pt x="144660" y="415212"/>
                </a:lnTo>
                <a:lnTo>
                  <a:pt x="189120" y="427803"/>
                </a:lnTo>
                <a:lnTo>
                  <a:pt x="236854" y="432193"/>
                </a:lnTo>
                <a:lnTo>
                  <a:pt x="284589" y="427803"/>
                </a:lnTo>
                <a:lnTo>
                  <a:pt x="329049" y="415212"/>
                </a:lnTo>
                <a:lnTo>
                  <a:pt x="369282" y="395288"/>
                </a:lnTo>
                <a:lnTo>
                  <a:pt x="404336" y="368901"/>
                </a:lnTo>
                <a:lnTo>
                  <a:pt x="433258" y="336920"/>
                </a:lnTo>
                <a:lnTo>
                  <a:pt x="455096" y="300214"/>
                </a:lnTo>
                <a:lnTo>
                  <a:pt x="468897" y="259652"/>
                </a:lnTo>
                <a:lnTo>
                  <a:pt x="473709" y="216103"/>
                </a:lnTo>
                <a:lnTo>
                  <a:pt x="468897" y="172549"/>
                </a:lnTo>
                <a:lnTo>
                  <a:pt x="455096" y="131984"/>
                </a:lnTo>
                <a:lnTo>
                  <a:pt x="433258" y="95276"/>
                </a:lnTo>
                <a:lnTo>
                  <a:pt x="404336" y="63293"/>
                </a:lnTo>
                <a:lnTo>
                  <a:pt x="369282" y="36905"/>
                </a:lnTo>
                <a:lnTo>
                  <a:pt x="329049" y="16981"/>
                </a:lnTo>
                <a:lnTo>
                  <a:pt x="284589" y="4390"/>
                </a:lnTo>
                <a:lnTo>
                  <a:pt x="236854" y="0"/>
                </a:lnTo>
                <a:lnTo>
                  <a:pt x="189120" y="4390"/>
                </a:lnTo>
                <a:lnTo>
                  <a:pt x="144660" y="16981"/>
                </a:lnTo>
                <a:lnTo>
                  <a:pt x="104427" y="36905"/>
                </a:lnTo>
                <a:lnTo>
                  <a:pt x="69373" y="63293"/>
                </a:lnTo>
                <a:lnTo>
                  <a:pt x="40451" y="95276"/>
                </a:lnTo>
                <a:lnTo>
                  <a:pt x="18613" y="131984"/>
                </a:lnTo>
                <a:lnTo>
                  <a:pt x="4812" y="172549"/>
                </a:lnTo>
                <a:lnTo>
                  <a:pt x="0" y="216103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18" name="bk object 18"/>
          <p:cNvSpPr/>
          <p:nvPr/>
        </p:nvSpPr>
        <p:spPr>
          <a:xfrm>
            <a:off x="3462383" y="2572511"/>
            <a:ext cx="540096" cy="392461"/>
          </a:xfrm>
          <a:custGeom>
            <a:avLst/>
            <a:gdLst/>
            <a:ahLst/>
            <a:cxnLst/>
            <a:rect l="l" t="t" r="r" b="b"/>
            <a:pathLst>
              <a:path w="473710" h="432435">
                <a:moveTo>
                  <a:pt x="0" y="216100"/>
                </a:moveTo>
                <a:lnTo>
                  <a:pt x="4812" y="172548"/>
                </a:lnTo>
                <a:lnTo>
                  <a:pt x="18613" y="131984"/>
                </a:lnTo>
                <a:lnTo>
                  <a:pt x="40451" y="95276"/>
                </a:lnTo>
                <a:lnTo>
                  <a:pt x="69373" y="63294"/>
                </a:lnTo>
                <a:lnTo>
                  <a:pt x="104427" y="36906"/>
                </a:lnTo>
                <a:lnTo>
                  <a:pt x="144661" y="16982"/>
                </a:lnTo>
                <a:lnTo>
                  <a:pt x="189121" y="4390"/>
                </a:lnTo>
                <a:lnTo>
                  <a:pt x="236856" y="0"/>
                </a:lnTo>
                <a:lnTo>
                  <a:pt x="284591" y="4390"/>
                </a:lnTo>
                <a:lnTo>
                  <a:pt x="329051" y="16982"/>
                </a:lnTo>
                <a:lnTo>
                  <a:pt x="369285" y="36906"/>
                </a:lnTo>
                <a:lnTo>
                  <a:pt x="404339" y="63294"/>
                </a:lnTo>
                <a:lnTo>
                  <a:pt x="433261" y="95276"/>
                </a:lnTo>
                <a:lnTo>
                  <a:pt x="455099" y="131984"/>
                </a:lnTo>
                <a:lnTo>
                  <a:pt x="468901" y="172548"/>
                </a:lnTo>
                <a:lnTo>
                  <a:pt x="473713" y="216100"/>
                </a:lnTo>
                <a:lnTo>
                  <a:pt x="468901" y="259652"/>
                </a:lnTo>
                <a:lnTo>
                  <a:pt x="455099" y="300216"/>
                </a:lnTo>
                <a:lnTo>
                  <a:pt x="433261" y="336924"/>
                </a:lnTo>
                <a:lnTo>
                  <a:pt x="404339" y="368906"/>
                </a:lnTo>
                <a:lnTo>
                  <a:pt x="369285" y="395294"/>
                </a:lnTo>
                <a:lnTo>
                  <a:pt x="329051" y="415218"/>
                </a:lnTo>
                <a:lnTo>
                  <a:pt x="284591" y="427810"/>
                </a:lnTo>
                <a:lnTo>
                  <a:pt x="236856" y="432200"/>
                </a:lnTo>
                <a:lnTo>
                  <a:pt x="189121" y="427810"/>
                </a:lnTo>
                <a:lnTo>
                  <a:pt x="144661" y="415218"/>
                </a:lnTo>
                <a:lnTo>
                  <a:pt x="104427" y="395294"/>
                </a:lnTo>
                <a:lnTo>
                  <a:pt x="69373" y="368906"/>
                </a:lnTo>
                <a:lnTo>
                  <a:pt x="40451" y="336924"/>
                </a:lnTo>
                <a:lnTo>
                  <a:pt x="18613" y="300216"/>
                </a:lnTo>
                <a:lnTo>
                  <a:pt x="4812" y="259652"/>
                </a:lnTo>
                <a:lnTo>
                  <a:pt x="0" y="216100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19" name="bk object 19"/>
          <p:cNvSpPr/>
          <p:nvPr/>
        </p:nvSpPr>
        <p:spPr>
          <a:xfrm>
            <a:off x="6613292" y="2670620"/>
            <a:ext cx="669691" cy="479484"/>
          </a:xfrm>
          <a:custGeom>
            <a:avLst/>
            <a:gdLst/>
            <a:ahLst/>
            <a:cxnLst/>
            <a:rect l="l" t="t" r="r" b="b"/>
            <a:pathLst>
              <a:path w="587375" h="528320">
                <a:moveTo>
                  <a:pt x="0" y="263969"/>
                </a:moveTo>
                <a:lnTo>
                  <a:pt x="3840" y="306785"/>
                </a:lnTo>
                <a:lnTo>
                  <a:pt x="14957" y="347403"/>
                </a:lnTo>
                <a:lnTo>
                  <a:pt x="32747" y="385277"/>
                </a:lnTo>
                <a:lnTo>
                  <a:pt x="56607" y="419865"/>
                </a:lnTo>
                <a:lnTo>
                  <a:pt x="85932" y="450622"/>
                </a:lnTo>
                <a:lnTo>
                  <a:pt x="120119" y="477007"/>
                </a:lnTo>
                <a:lnTo>
                  <a:pt x="158562" y="498474"/>
                </a:lnTo>
                <a:lnTo>
                  <a:pt x="200659" y="514481"/>
                </a:lnTo>
                <a:lnTo>
                  <a:pt x="245804" y="524484"/>
                </a:lnTo>
                <a:lnTo>
                  <a:pt x="293395" y="527939"/>
                </a:lnTo>
                <a:lnTo>
                  <a:pt x="340986" y="524484"/>
                </a:lnTo>
                <a:lnTo>
                  <a:pt x="386132" y="514481"/>
                </a:lnTo>
                <a:lnTo>
                  <a:pt x="428230" y="498474"/>
                </a:lnTo>
                <a:lnTo>
                  <a:pt x="466676" y="477007"/>
                </a:lnTo>
                <a:lnTo>
                  <a:pt x="500864" y="450622"/>
                </a:lnTo>
                <a:lnTo>
                  <a:pt x="530191" y="419865"/>
                </a:lnTo>
                <a:lnTo>
                  <a:pt x="554052" y="385277"/>
                </a:lnTo>
                <a:lnTo>
                  <a:pt x="571844" y="347403"/>
                </a:lnTo>
                <a:lnTo>
                  <a:pt x="582963" y="306785"/>
                </a:lnTo>
                <a:lnTo>
                  <a:pt x="586803" y="263969"/>
                </a:lnTo>
                <a:lnTo>
                  <a:pt x="582963" y="221153"/>
                </a:lnTo>
                <a:lnTo>
                  <a:pt x="571844" y="180535"/>
                </a:lnTo>
                <a:lnTo>
                  <a:pt x="554052" y="142661"/>
                </a:lnTo>
                <a:lnTo>
                  <a:pt x="530191" y="108073"/>
                </a:lnTo>
                <a:lnTo>
                  <a:pt x="500864" y="77316"/>
                </a:lnTo>
                <a:lnTo>
                  <a:pt x="466676" y="50931"/>
                </a:lnTo>
                <a:lnTo>
                  <a:pt x="428230" y="29464"/>
                </a:lnTo>
                <a:lnTo>
                  <a:pt x="386132" y="13457"/>
                </a:lnTo>
                <a:lnTo>
                  <a:pt x="340986" y="3454"/>
                </a:lnTo>
                <a:lnTo>
                  <a:pt x="293395" y="0"/>
                </a:lnTo>
                <a:lnTo>
                  <a:pt x="245804" y="3454"/>
                </a:lnTo>
                <a:lnTo>
                  <a:pt x="200659" y="13457"/>
                </a:lnTo>
                <a:lnTo>
                  <a:pt x="158562" y="29464"/>
                </a:lnTo>
                <a:lnTo>
                  <a:pt x="120119" y="50931"/>
                </a:lnTo>
                <a:lnTo>
                  <a:pt x="85932" y="77316"/>
                </a:lnTo>
                <a:lnTo>
                  <a:pt x="56607" y="108073"/>
                </a:lnTo>
                <a:lnTo>
                  <a:pt x="32747" y="142661"/>
                </a:lnTo>
                <a:lnTo>
                  <a:pt x="14957" y="180535"/>
                </a:lnTo>
                <a:lnTo>
                  <a:pt x="3840" y="221153"/>
                </a:lnTo>
                <a:lnTo>
                  <a:pt x="0" y="263969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0" name="bk object 20"/>
          <p:cNvSpPr/>
          <p:nvPr/>
        </p:nvSpPr>
        <p:spPr>
          <a:xfrm>
            <a:off x="6613292" y="2670620"/>
            <a:ext cx="669691" cy="479484"/>
          </a:xfrm>
          <a:custGeom>
            <a:avLst/>
            <a:gdLst/>
            <a:ahLst/>
            <a:cxnLst/>
            <a:rect l="l" t="t" r="r" b="b"/>
            <a:pathLst>
              <a:path w="587375" h="528320">
                <a:moveTo>
                  <a:pt x="0" y="263968"/>
                </a:moveTo>
                <a:lnTo>
                  <a:pt x="3840" y="221151"/>
                </a:lnTo>
                <a:lnTo>
                  <a:pt x="14957" y="180534"/>
                </a:lnTo>
                <a:lnTo>
                  <a:pt x="32748" y="142660"/>
                </a:lnTo>
                <a:lnTo>
                  <a:pt x="56608" y="108072"/>
                </a:lnTo>
                <a:lnTo>
                  <a:pt x="85934" y="77314"/>
                </a:lnTo>
                <a:lnTo>
                  <a:pt x="120121" y="50930"/>
                </a:lnTo>
                <a:lnTo>
                  <a:pt x="158564" y="29463"/>
                </a:lnTo>
                <a:lnTo>
                  <a:pt x="200661" y="13457"/>
                </a:lnTo>
                <a:lnTo>
                  <a:pt x="245807" y="3454"/>
                </a:lnTo>
                <a:lnTo>
                  <a:pt x="293397" y="0"/>
                </a:lnTo>
                <a:lnTo>
                  <a:pt x="340988" y="3454"/>
                </a:lnTo>
                <a:lnTo>
                  <a:pt x="386134" y="13457"/>
                </a:lnTo>
                <a:lnTo>
                  <a:pt x="428231" y="29463"/>
                </a:lnTo>
                <a:lnTo>
                  <a:pt x="466674" y="50930"/>
                </a:lnTo>
                <a:lnTo>
                  <a:pt x="500861" y="77314"/>
                </a:lnTo>
                <a:lnTo>
                  <a:pt x="530187" y="108072"/>
                </a:lnTo>
                <a:lnTo>
                  <a:pt x="554047" y="142660"/>
                </a:lnTo>
                <a:lnTo>
                  <a:pt x="571838" y="180534"/>
                </a:lnTo>
                <a:lnTo>
                  <a:pt x="582955" y="221151"/>
                </a:lnTo>
                <a:lnTo>
                  <a:pt x="586795" y="263968"/>
                </a:lnTo>
                <a:lnTo>
                  <a:pt x="582955" y="306785"/>
                </a:lnTo>
                <a:lnTo>
                  <a:pt x="571838" y="347403"/>
                </a:lnTo>
                <a:lnTo>
                  <a:pt x="554047" y="385277"/>
                </a:lnTo>
                <a:lnTo>
                  <a:pt x="530187" y="419865"/>
                </a:lnTo>
                <a:lnTo>
                  <a:pt x="500861" y="450622"/>
                </a:lnTo>
                <a:lnTo>
                  <a:pt x="466674" y="477006"/>
                </a:lnTo>
                <a:lnTo>
                  <a:pt x="428231" y="498473"/>
                </a:lnTo>
                <a:lnTo>
                  <a:pt x="386134" y="514480"/>
                </a:lnTo>
                <a:lnTo>
                  <a:pt x="340988" y="524482"/>
                </a:lnTo>
                <a:lnTo>
                  <a:pt x="293397" y="527937"/>
                </a:lnTo>
                <a:lnTo>
                  <a:pt x="245807" y="524482"/>
                </a:lnTo>
                <a:lnTo>
                  <a:pt x="200661" y="514480"/>
                </a:lnTo>
                <a:lnTo>
                  <a:pt x="158564" y="498473"/>
                </a:lnTo>
                <a:lnTo>
                  <a:pt x="120121" y="477006"/>
                </a:lnTo>
                <a:lnTo>
                  <a:pt x="85934" y="450622"/>
                </a:lnTo>
                <a:lnTo>
                  <a:pt x="56608" y="419865"/>
                </a:lnTo>
                <a:lnTo>
                  <a:pt x="32748" y="385277"/>
                </a:lnTo>
                <a:lnTo>
                  <a:pt x="14957" y="347403"/>
                </a:lnTo>
                <a:lnTo>
                  <a:pt x="3840" y="306785"/>
                </a:lnTo>
                <a:lnTo>
                  <a:pt x="0" y="263968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1" name="bk object 21"/>
          <p:cNvSpPr/>
          <p:nvPr/>
        </p:nvSpPr>
        <p:spPr>
          <a:xfrm>
            <a:off x="3873363" y="3651742"/>
            <a:ext cx="540821" cy="392461"/>
          </a:xfrm>
          <a:custGeom>
            <a:avLst/>
            <a:gdLst/>
            <a:ahLst/>
            <a:cxnLst/>
            <a:rect l="l" t="t" r="r" b="b"/>
            <a:pathLst>
              <a:path w="474345" h="432435">
                <a:moveTo>
                  <a:pt x="0" y="216103"/>
                </a:moveTo>
                <a:lnTo>
                  <a:pt x="4812" y="259653"/>
                </a:lnTo>
                <a:lnTo>
                  <a:pt x="18613" y="300216"/>
                </a:lnTo>
                <a:lnTo>
                  <a:pt x="40452" y="336924"/>
                </a:lnTo>
                <a:lnTo>
                  <a:pt x="69375" y="368908"/>
                </a:lnTo>
                <a:lnTo>
                  <a:pt x="104430" y="395297"/>
                </a:lnTo>
                <a:lnTo>
                  <a:pt x="144666" y="415222"/>
                </a:lnTo>
                <a:lnTo>
                  <a:pt x="189129" y="427815"/>
                </a:lnTo>
                <a:lnTo>
                  <a:pt x="236867" y="432206"/>
                </a:lnTo>
                <a:lnTo>
                  <a:pt x="284601" y="427815"/>
                </a:lnTo>
                <a:lnTo>
                  <a:pt x="329061" y="415222"/>
                </a:lnTo>
                <a:lnTo>
                  <a:pt x="369294" y="395297"/>
                </a:lnTo>
                <a:lnTo>
                  <a:pt x="404348" y="368908"/>
                </a:lnTo>
                <a:lnTo>
                  <a:pt x="433271" y="336924"/>
                </a:lnTo>
                <a:lnTo>
                  <a:pt x="455109" y="300216"/>
                </a:lnTo>
                <a:lnTo>
                  <a:pt x="468910" y="259653"/>
                </a:lnTo>
                <a:lnTo>
                  <a:pt x="473722" y="216103"/>
                </a:lnTo>
                <a:lnTo>
                  <a:pt x="468910" y="172549"/>
                </a:lnTo>
                <a:lnTo>
                  <a:pt x="455109" y="131984"/>
                </a:lnTo>
                <a:lnTo>
                  <a:pt x="433271" y="95276"/>
                </a:lnTo>
                <a:lnTo>
                  <a:pt x="404348" y="63293"/>
                </a:lnTo>
                <a:lnTo>
                  <a:pt x="369294" y="36905"/>
                </a:lnTo>
                <a:lnTo>
                  <a:pt x="329061" y="16981"/>
                </a:lnTo>
                <a:lnTo>
                  <a:pt x="284601" y="4390"/>
                </a:lnTo>
                <a:lnTo>
                  <a:pt x="236867" y="0"/>
                </a:lnTo>
                <a:lnTo>
                  <a:pt x="189129" y="4390"/>
                </a:lnTo>
                <a:lnTo>
                  <a:pt x="144666" y="16981"/>
                </a:lnTo>
                <a:lnTo>
                  <a:pt x="104430" y="36905"/>
                </a:lnTo>
                <a:lnTo>
                  <a:pt x="69375" y="63293"/>
                </a:lnTo>
                <a:lnTo>
                  <a:pt x="40452" y="95276"/>
                </a:lnTo>
                <a:lnTo>
                  <a:pt x="18613" y="131984"/>
                </a:lnTo>
                <a:lnTo>
                  <a:pt x="4812" y="172549"/>
                </a:lnTo>
                <a:lnTo>
                  <a:pt x="0" y="216103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2" name="bk object 22"/>
          <p:cNvSpPr/>
          <p:nvPr/>
        </p:nvSpPr>
        <p:spPr>
          <a:xfrm>
            <a:off x="3873363" y="3651742"/>
            <a:ext cx="540096" cy="392461"/>
          </a:xfrm>
          <a:custGeom>
            <a:avLst/>
            <a:gdLst/>
            <a:ahLst/>
            <a:cxnLst/>
            <a:rect l="l" t="t" r="r" b="b"/>
            <a:pathLst>
              <a:path w="473710" h="432435">
                <a:moveTo>
                  <a:pt x="0" y="216100"/>
                </a:moveTo>
                <a:lnTo>
                  <a:pt x="4812" y="172548"/>
                </a:lnTo>
                <a:lnTo>
                  <a:pt x="18613" y="131984"/>
                </a:lnTo>
                <a:lnTo>
                  <a:pt x="40451" y="95276"/>
                </a:lnTo>
                <a:lnTo>
                  <a:pt x="69373" y="63294"/>
                </a:lnTo>
                <a:lnTo>
                  <a:pt x="104427" y="36906"/>
                </a:lnTo>
                <a:lnTo>
                  <a:pt x="144661" y="16982"/>
                </a:lnTo>
                <a:lnTo>
                  <a:pt x="189121" y="4390"/>
                </a:lnTo>
                <a:lnTo>
                  <a:pt x="236856" y="0"/>
                </a:lnTo>
                <a:lnTo>
                  <a:pt x="284591" y="4390"/>
                </a:lnTo>
                <a:lnTo>
                  <a:pt x="329051" y="16982"/>
                </a:lnTo>
                <a:lnTo>
                  <a:pt x="369285" y="36906"/>
                </a:lnTo>
                <a:lnTo>
                  <a:pt x="404339" y="63294"/>
                </a:lnTo>
                <a:lnTo>
                  <a:pt x="433261" y="95276"/>
                </a:lnTo>
                <a:lnTo>
                  <a:pt x="455099" y="131984"/>
                </a:lnTo>
                <a:lnTo>
                  <a:pt x="468901" y="172548"/>
                </a:lnTo>
                <a:lnTo>
                  <a:pt x="473713" y="216100"/>
                </a:lnTo>
                <a:lnTo>
                  <a:pt x="468901" y="259652"/>
                </a:lnTo>
                <a:lnTo>
                  <a:pt x="455099" y="300216"/>
                </a:lnTo>
                <a:lnTo>
                  <a:pt x="433261" y="336924"/>
                </a:lnTo>
                <a:lnTo>
                  <a:pt x="404339" y="368906"/>
                </a:lnTo>
                <a:lnTo>
                  <a:pt x="369285" y="395294"/>
                </a:lnTo>
                <a:lnTo>
                  <a:pt x="329051" y="415218"/>
                </a:lnTo>
                <a:lnTo>
                  <a:pt x="284591" y="427810"/>
                </a:lnTo>
                <a:lnTo>
                  <a:pt x="236856" y="432200"/>
                </a:lnTo>
                <a:lnTo>
                  <a:pt x="189121" y="427810"/>
                </a:lnTo>
                <a:lnTo>
                  <a:pt x="144661" y="415218"/>
                </a:lnTo>
                <a:lnTo>
                  <a:pt x="104427" y="395294"/>
                </a:lnTo>
                <a:lnTo>
                  <a:pt x="69373" y="368906"/>
                </a:lnTo>
                <a:lnTo>
                  <a:pt x="40451" y="336924"/>
                </a:lnTo>
                <a:lnTo>
                  <a:pt x="18613" y="300216"/>
                </a:lnTo>
                <a:lnTo>
                  <a:pt x="4812" y="259652"/>
                </a:lnTo>
                <a:lnTo>
                  <a:pt x="0" y="216100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3" name="bk object 23"/>
          <p:cNvSpPr/>
          <p:nvPr/>
        </p:nvSpPr>
        <p:spPr>
          <a:xfrm>
            <a:off x="1407437" y="4338522"/>
            <a:ext cx="540096" cy="392461"/>
          </a:xfrm>
          <a:custGeom>
            <a:avLst/>
            <a:gdLst/>
            <a:ahLst/>
            <a:cxnLst/>
            <a:rect l="l" t="t" r="r" b="b"/>
            <a:pathLst>
              <a:path w="473710" h="432435">
                <a:moveTo>
                  <a:pt x="0" y="216103"/>
                </a:moveTo>
                <a:lnTo>
                  <a:pt x="4812" y="259656"/>
                </a:lnTo>
                <a:lnTo>
                  <a:pt x="18613" y="300222"/>
                </a:lnTo>
                <a:lnTo>
                  <a:pt x="40451" y="336930"/>
                </a:lnTo>
                <a:lnTo>
                  <a:pt x="69373" y="368912"/>
                </a:lnTo>
                <a:lnTo>
                  <a:pt x="104427" y="395300"/>
                </a:lnTo>
                <a:lnTo>
                  <a:pt x="144660" y="415224"/>
                </a:lnTo>
                <a:lnTo>
                  <a:pt x="189120" y="427816"/>
                </a:lnTo>
                <a:lnTo>
                  <a:pt x="236854" y="432206"/>
                </a:lnTo>
                <a:lnTo>
                  <a:pt x="284589" y="427816"/>
                </a:lnTo>
                <a:lnTo>
                  <a:pt x="329049" y="415224"/>
                </a:lnTo>
                <a:lnTo>
                  <a:pt x="369282" y="395300"/>
                </a:lnTo>
                <a:lnTo>
                  <a:pt x="404336" y="368912"/>
                </a:lnTo>
                <a:lnTo>
                  <a:pt x="433258" y="336930"/>
                </a:lnTo>
                <a:lnTo>
                  <a:pt x="455096" y="300222"/>
                </a:lnTo>
                <a:lnTo>
                  <a:pt x="468897" y="259656"/>
                </a:lnTo>
                <a:lnTo>
                  <a:pt x="473709" y="216103"/>
                </a:lnTo>
                <a:lnTo>
                  <a:pt x="468897" y="172553"/>
                </a:lnTo>
                <a:lnTo>
                  <a:pt x="455096" y="131989"/>
                </a:lnTo>
                <a:lnTo>
                  <a:pt x="433258" y="95281"/>
                </a:lnTo>
                <a:lnTo>
                  <a:pt x="404336" y="63298"/>
                </a:lnTo>
                <a:lnTo>
                  <a:pt x="369282" y="36909"/>
                </a:lnTo>
                <a:lnTo>
                  <a:pt x="329049" y="16983"/>
                </a:lnTo>
                <a:lnTo>
                  <a:pt x="284589" y="4390"/>
                </a:lnTo>
                <a:lnTo>
                  <a:pt x="236854" y="0"/>
                </a:lnTo>
                <a:lnTo>
                  <a:pt x="189120" y="4390"/>
                </a:lnTo>
                <a:lnTo>
                  <a:pt x="144660" y="16983"/>
                </a:lnTo>
                <a:lnTo>
                  <a:pt x="104427" y="36909"/>
                </a:lnTo>
                <a:lnTo>
                  <a:pt x="69373" y="63298"/>
                </a:lnTo>
                <a:lnTo>
                  <a:pt x="40451" y="95281"/>
                </a:lnTo>
                <a:lnTo>
                  <a:pt x="18613" y="131989"/>
                </a:lnTo>
                <a:lnTo>
                  <a:pt x="4812" y="172553"/>
                </a:lnTo>
                <a:lnTo>
                  <a:pt x="0" y="216103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4" name="bk object 24"/>
          <p:cNvSpPr/>
          <p:nvPr/>
        </p:nvSpPr>
        <p:spPr>
          <a:xfrm>
            <a:off x="1407437" y="4338522"/>
            <a:ext cx="540096" cy="392461"/>
          </a:xfrm>
          <a:custGeom>
            <a:avLst/>
            <a:gdLst/>
            <a:ahLst/>
            <a:cxnLst/>
            <a:rect l="l" t="t" r="r" b="b"/>
            <a:pathLst>
              <a:path w="473710" h="432435">
                <a:moveTo>
                  <a:pt x="0" y="216100"/>
                </a:moveTo>
                <a:lnTo>
                  <a:pt x="4812" y="172548"/>
                </a:lnTo>
                <a:lnTo>
                  <a:pt x="18613" y="131984"/>
                </a:lnTo>
                <a:lnTo>
                  <a:pt x="40451" y="95276"/>
                </a:lnTo>
                <a:lnTo>
                  <a:pt x="69373" y="63294"/>
                </a:lnTo>
                <a:lnTo>
                  <a:pt x="104427" y="36906"/>
                </a:lnTo>
                <a:lnTo>
                  <a:pt x="144661" y="16982"/>
                </a:lnTo>
                <a:lnTo>
                  <a:pt x="189121" y="4390"/>
                </a:lnTo>
                <a:lnTo>
                  <a:pt x="236856" y="0"/>
                </a:lnTo>
                <a:lnTo>
                  <a:pt x="284591" y="4390"/>
                </a:lnTo>
                <a:lnTo>
                  <a:pt x="329051" y="16982"/>
                </a:lnTo>
                <a:lnTo>
                  <a:pt x="369285" y="36906"/>
                </a:lnTo>
                <a:lnTo>
                  <a:pt x="404339" y="63294"/>
                </a:lnTo>
                <a:lnTo>
                  <a:pt x="433261" y="95276"/>
                </a:lnTo>
                <a:lnTo>
                  <a:pt x="455099" y="131984"/>
                </a:lnTo>
                <a:lnTo>
                  <a:pt x="468901" y="172548"/>
                </a:lnTo>
                <a:lnTo>
                  <a:pt x="473713" y="216100"/>
                </a:lnTo>
                <a:lnTo>
                  <a:pt x="468901" y="259652"/>
                </a:lnTo>
                <a:lnTo>
                  <a:pt x="455099" y="300216"/>
                </a:lnTo>
                <a:lnTo>
                  <a:pt x="433261" y="336924"/>
                </a:lnTo>
                <a:lnTo>
                  <a:pt x="404339" y="368906"/>
                </a:lnTo>
                <a:lnTo>
                  <a:pt x="369285" y="395294"/>
                </a:lnTo>
                <a:lnTo>
                  <a:pt x="329051" y="415218"/>
                </a:lnTo>
                <a:lnTo>
                  <a:pt x="284591" y="427810"/>
                </a:lnTo>
                <a:lnTo>
                  <a:pt x="236856" y="432200"/>
                </a:lnTo>
                <a:lnTo>
                  <a:pt x="189121" y="427810"/>
                </a:lnTo>
                <a:lnTo>
                  <a:pt x="144661" y="415218"/>
                </a:lnTo>
                <a:lnTo>
                  <a:pt x="104427" y="395294"/>
                </a:lnTo>
                <a:lnTo>
                  <a:pt x="69373" y="368906"/>
                </a:lnTo>
                <a:lnTo>
                  <a:pt x="40451" y="336924"/>
                </a:lnTo>
                <a:lnTo>
                  <a:pt x="18613" y="300216"/>
                </a:lnTo>
                <a:lnTo>
                  <a:pt x="4812" y="259652"/>
                </a:lnTo>
                <a:lnTo>
                  <a:pt x="0" y="216100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5" name="bk object 25"/>
          <p:cNvSpPr/>
          <p:nvPr/>
        </p:nvSpPr>
        <p:spPr>
          <a:xfrm>
            <a:off x="7298273" y="1591391"/>
            <a:ext cx="540096" cy="392461"/>
          </a:xfrm>
          <a:custGeom>
            <a:avLst/>
            <a:gdLst/>
            <a:ahLst/>
            <a:cxnLst/>
            <a:rect l="l" t="t" r="r" b="b"/>
            <a:pathLst>
              <a:path w="473709" h="432435">
                <a:moveTo>
                  <a:pt x="0" y="216103"/>
                </a:moveTo>
                <a:lnTo>
                  <a:pt x="4812" y="259652"/>
                </a:lnTo>
                <a:lnTo>
                  <a:pt x="18613" y="300214"/>
                </a:lnTo>
                <a:lnTo>
                  <a:pt x="40451" y="336920"/>
                </a:lnTo>
                <a:lnTo>
                  <a:pt x="69373" y="368901"/>
                </a:lnTo>
                <a:lnTo>
                  <a:pt x="104427" y="395288"/>
                </a:lnTo>
                <a:lnTo>
                  <a:pt x="144660" y="415212"/>
                </a:lnTo>
                <a:lnTo>
                  <a:pt x="189120" y="427803"/>
                </a:lnTo>
                <a:lnTo>
                  <a:pt x="236854" y="432193"/>
                </a:lnTo>
                <a:lnTo>
                  <a:pt x="284592" y="427803"/>
                </a:lnTo>
                <a:lnTo>
                  <a:pt x="329054" y="415212"/>
                </a:lnTo>
                <a:lnTo>
                  <a:pt x="369287" y="395288"/>
                </a:lnTo>
                <a:lnTo>
                  <a:pt x="404341" y="368901"/>
                </a:lnTo>
                <a:lnTo>
                  <a:pt x="433261" y="336920"/>
                </a:lnTo>
                <a:lnTo>
                  <a:pt x="455098" y="300214"/>
                </a:lnTo>
                <a:lnTo>
                  <a:pt x="468898" y="259652"/>
                </a:lnTo>
                <a:lnTo>
                  <a:pt x="473710" y="216103"/>
                </a:lnTo>
                <a:lnTo>
                  <a:pt x="468898" y="172549"/>
                </a:lnTo>
                <a:lnTo>
                  <a:pt x="455098" y="131984"/>
                </a:lnTo>
                <a:lnTo>
                  <a:pt x="433261" y="95276"/>
                </a:lnTo>
                <a:lnTo>
                  <a:pt x="404341" y="63293"/>
                </a:lnTo>
                <a:lnTo>
                  <a:pt x="369287" y="36905"/>
                </a:lnTo>
                <a:lnTo>
                  <a:pt x="329054" y="16981"/>
                </a:lnTo>
                <a:lnTo>
                  <a:pt x="284592" y="4390"/>
                </a:lnTo>
                <a:lnTo>
                  <a:pt x="236854" y="0"/>
                </a:lnTo>
                <a:lnTo>
                  <a:pt x="189120" y="4390"/>
                </a:lnTo>
                <a:lnTo>
                  <a:pt x="144660" y="16981"/>
                </a:lnTo>
                <a:lnTo>
                  <a:pt x="104427" y="36905"/>
                </a:lnTo>
                <a:lnTo>
                  <a:pt x="69373" y="63293"/>
                </a:lnTo>
                <a:lnTo>
                  <a:pt x="40451" y="95276"/>
                </a:lnTo>
                <a:lnTo>
                  <a:pt x="18613" y="131984"/>
                </a:lnTo>
                <a:lnTo>
                  <a:pt x="4812" y="172549"/>
                </a:lnTo>
                <a:lnTo>
                  <a:pt x="0" y="216103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6" name="bk object 26"/>
          <p:cNvSpPr/>
          <p:nvPr/>
        </p:nvSpPr>
        <p:spPr>
          <a:xfrm>
            <a:off x="7298273" y="1591391"/>
            <a:ext cx="540096" cy="392461"/>
          </a:xfrm>
          <a:custGeom>
            <a:avLst/>
            <a:gdLst/>
            <a:ahLst/>
            <a:cxnLst/>
            <a:rect l="l" t="t" r="r" b="b"/>
            <a:pathLst>
              <a:path w="473709" h="432435">
                <a:moveTo>
                  <a:pt x="0" y="216100"/>
                </a:moveTo>
                <a:lnTo>
                  <a:pt x="4812" y="172548"/>
                </a:lnTo>
                <a:lnTo>
                  <a:pt x="18613" y="131984"/>
                </a:lnTo>
                <a:lnTo>
                  <a:pt x="40451" y="95276"/>
                </a:lnTo>
                <a:lnTo>
                  <a:pt x="69373" y="63294"/>
                </a:lnTo>
                <a:lnTo>
                  <a:pt x="104427" y="36906"/>
                </a:lnTo>
                <a:lnTo>
                  <a:pt x="144661" y="16982"/>
                </a:lnTo>
                <a:lnTo>
                  <a:pt x="189121" y="4390"/>
                </a:lnTo>
                <a:lnTo>
                  <a:pt x="236856" y="0"/>
                </a:lnTo>
                <a:lnTo>
                  <a:pt x="284591" y="4390"/>
                </a:lnTo>
                <a:lnTo>
                  <a:pt x="329051" y="16982"/>
                </a:lnTo>
                <a:lnTo>
                  <a:pt x="369285" y="36906"/>
                </a:lnTo>
                <a:lnTo>
                  <a:pt x="404339" y="63294"/>
                </a:lnTo>
                <a:lnTo>
                  <a:pt x="433261" y="95276"/>
                </a:lnTo>
                <a:lnTo>
                  <a:pt x="455099" y="131984"/>
                </a:lnTo>
                <a:lnTo>
                  <a:pt x="468901" y="172548"/>
                </a:lnTo>
                <a:lnTo>
                  <a:pt x="473713" y="216100"/>
                </a:lnTo>
                <a:lnTo>
                  <a:pt x="468901" y="259652"/>
                </a:lnTo>
                <a:lnTo>
                  <a:pt x="455099" y="300216"/>
                </a:lnTo>
                <a:lnTo>
                  <a:pt x="433261" y="336924"/>
                </a:lnTo>
                <a:lnTo>
                  <a:pt x="404339" y="368906"/>
                </a:lnTo>
                <a:lnTo>
                  <a:pt x="369285" y="395294"/>
                </a:lnTo>
                <a:lnTo>
                  <a:pt x="329051" y="415218"/>
                </a:lnTo>
                <a:lnTo>
                  <a:pt x="284591" y="427810"/>
                </a:lnTo>
                <a:lnTo>
                  <a:pt x="236856" y="432200"/>
                </a:lnTo>
                <a:lnTo>
                  <a:pt x="189121" y="427810"/>
                </a:lnTo>
                <a:lnTo>
                  <a:pt x="144661" y="415218"/>
                </a:lnTo>
                <a:lnTo>
                  <a:pt x="104427" y="395294"/>
                </a:lnTo>
                <a:lnTo>
                  <a:pt x="69373" y="368906"/>
                </a:lnTo>
                <a:lnTo>
                  <a:pt x="40451" y="336924"/>
                </a:lnTo>
                <a:lnTo>
                  <a:pt x="18613" y="300216"/>
                </a:lnTo>
                <a:lnTo>
                  <a:pt x="4812" y="259652"/>
                </a:lnTo>
                <a:lnTo>
                  <a:pt x="0" y="216100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7" name="bk object 27"/>
          <p:cNvSpPr/>
          <p:nvPr/>
        </p:nvSpPr>
        <p:spPr>
          <a:xfrm>
            <a:off x="5517329" y="4667129"/>
            <a:ext cx="363443" cy="260489"/>
          </a:xfrm>
          <a:custGeom>
            <a:avLst/>
            <a:gdLst/>
            <a:ahLst/>
            <a:cxnLst/>
            <a:rect l="l" t="t" r="r" b="b"/>
            <a:pathLst>
              <a:path w="318770" h="287020">
                <a:moveTo>
                  <a:pt x="0" y="143281"/>
                </a:moveTo>
                <a:lnTo>
                  <a:pt x="8118" y="188570"/>
                </a:lnTo>
                <a:lnTo>
                  <a:pt x="30725" y="227902"/>
                </a:lnTo>
                <a:lnTo>
                  <a:pt x="65197" y="258918"/>
                </a:lnTo>
                <a:lnTo>
                  <a:pt x="108911" y="279258"/>
                </a:lnTo>
                <a:lnTo>
                  <a:pt x="159245" y="286562"/>
                </a:lnTo>
                <a:lnTo>
                  <a:pt x="209579" y="279258"/>
                </a:lnTo>
                <a:lnTo>
                  <a:pt x="253297" y="258918"/>
                </a:lnTo>
                <a:lnTo>
                  <a:pt x="287773" y="227902"/>
                </a:lnTo>
                <a:lnTo>
                  <a:pt x="310383" y="188570"/>
                </a:lnTo>
                <a:lnTo>
                  <a:pt x="318503" y="143281"/>
                </a:lnTo>
                <a:lnTo>
                  <a:pt x="310383" y="97992"/>
                </a:lnTo>
                <a:lnTo>
                  <a:pt x="287773" y="58660"/>
                </a:lnTo>
                <a:lnTo>
                  <a:pt x="253297" y="27644"/>
                </a:lnTo>
                <a:lnTo>
                  <a:pt x="209579" y="7304"/>
                </a:lnTo>
                <a:lnTo>
                  <a:pt x="159245" y="0"/>
                </a:lnTo>
                <a:lnTo>
                  <a:pt x="108911" y="7304"/>
                </a:lnTo>
                <a:lnTo>
                  <a:pt x="65197" y="27644"/>
                </a:lnTo>
                <a:lnTo>
                  <a:pt x="30725" y="58660"/>
                </a:lnTo>
                <a:lnTo>
                  <a:pt x="8118" y="97992"/>
                </a:lnTo>
                <a:lnTo>
                  <a:pt x="0" y="143281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8" name="bk object 28"/>
          <p:cNvSpPr/>
          <p:nvPr/>
        </p:nvSpPr>
        <p:spPr>
          <a:xfrm>
            <a:off x="5517329" y="4667129"/>
            <a:ext cx="363443" cy="260489"/>
          </a:xfrm>
          <a:custGeom>
            <a:avLst/>
            <a:gdLst/>
            <a:ahLst/>
            <a:cxnLst/>
            <a:rect l="l" t="t" r="r" b="b"/>
            <a:pathLst>
              <a:path w="318770" h="287020">
                <a:moveTo>
                  <a:pt x="0" y="143277"/>
                </a:moveTo>
                <a:lnTo>
                  <a:pt x="8118" y="97990"/>
                </a:lnTo>
                <a:lnTo>
                  <a:pt x="30726" y="58659"/>
                </a:lnTo>
                <a:lnTo>
                  <a:pt x="65199" y="27644"/>
                </a:lnTo>
                <a:lnTo>
                  <a:pt x="108914" y="7304"/>
                </a:lnTo>
                <a:lnTo>
                  <a:pt x="159250" y="0"/>
                </a:lnTo>
                <a:lnTo>
                  <a:pt x="209585" y="7304"/>
                </a:lnTo>
                <a:lnTo>
                  <a:pt x="253301" y="27644"/>
                </a:lnTo>
                <a:lnTo>
                  <a:pt x="287775" y="58659"/>
                </a:lnTo>
                <a:lnTo>
                  <a:pt x="310382" y="97990"/>
                </a:lnTo>
                <a:lnTo>
                  <a:pt x="318501" y="143277"/>
                </a:lnTo>
                <a:lnTo>
                  <a:pt x="310382" y="188563"/>
                </a:lnTo>
                <a:lnTo>
                  <a:pt x="287775" y="227894"/>
                </a:lnTo>
                <a:lnTo>
                  <a:pt x="253301" y="258909"/>
                </a:lnTo>
                <a:lnTo>
                  <a:pt x="209585" y="279249"/>
                </a:lnTo>
                <a:lnTo>
                  <a:pt x="159250" y="286554"/>
                </a:lnTo>
                <a:lnTo>
                  <a:pt x="108914" y="279249"/>
                </a:lnTo>
                <a:lnTo>
                  <a:pt x="65199" y="258909"/>
                </a:lnTo>
                <a:lnTo>
                  <a:pt x="30726" y="227894"/>
                </a:lnTo>
                <a:lnTo>
                  <a:pt x="8118" y="188563"/>
                </a:lnTo>
                <a:lnTo>
                  <a:pt x="0" y="143277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9" name="bk object 29"/>
          <p:cNvSpPr/>
          <p:nvPr/>
        </p:nvSpPr>
        <p:spPr>
          <a:xfrm>
            <a:off x="7983255" y="4927203"/>
            <a:ext cx="274392" cy="196519"/>
          </a:xfrm>
          <a:custGeom>
            <a:avLst/>
            <a:gdLst/>
            <a:ahLst/>
            <a:cxnLst/>
            <a:rect l="l" t="t" r="r" b="b"/>
            <a:pathLst>
              <a:path w="240665" h="216535">
                <a:moveTo>
                  <a:pt x="0" y="108102"/>
                </a:moveTo>
                <a:lnTo>
                  <a:pt x="9442" y="150180"/>
                </a:lnTo>
                <a:lnTo>
                  <a:pt x="35193" y="184542"/>
                </a:lnTo>
                <a:lnTo>
                  <a:pt x="73385" y="207709"/>
                </a:lnTo>
                <a:lnTo>
                  <a:pt x="120154" y="216204"/>
                </a:lnTo>
                <a:lnTo>
                  <a:pt x="166928" y="207709"/>
                </a:lnTo>
                <a:lnTo>
                  <a:pt x="205120" y="184542"/>
                </a:lnTo>
                <a:lnTo>
                  <a:pt x="230868" y="150180"/>
                </a:lnTo>
                <a:lnTo>
                  <a:pt x="240309" y="108102"/>
                </a:lnTo>
                <a:lnTo>
                  <a:pt x="230868" y="66024"/>
                </a:lnTo>
                <a:lnTo>
                  <a:pt x="205120" y="31662"/>
                </a:lnTo>
                <a:lnTo>
                  <a:pt x="166928" y="8495"/>
                </a:lnTo>
                <a:lnTo>
                  <a:pt x="120154" y="0"/>
                </a:lnTo>
                <a:lnTo>
                  <a:pt x="73385" y="8495"/>
                </a:lnTo>
                <a:lnTo>
                  <a:pt x="35193" y="31662"/>
                </a:lnTo>
                <a:lnTo>
                  <a:pt x="9442" y="66024"/>
                </a:lnTo>
                <a:lnTo>
                  <a:pt x="0" y="108102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0" name="bk object 30"/>
          <p:cNvSpPr/>
          <p:nvPr/>
        </p:nvSpPr>
        <p:spPr>
          <a:xfrm>
            <a:off x="7983255" y="4927203"/>
            <a:ext cx="274392" cy="196519"/>
          </a:xfrm>
          <a:custGeom>
            <a:avLst/>
            <a:gdLst/>
            <a:ahLst/>
            <a:cxnLst/>
            <a:rect l="l" t="t" r="r" b="b"/>
            <a:pathLst>
              <a:path w="240665" h="216535">
                <a:moveTo>
                  <a:pt x="0" y="108104"/>
                </a:moveTo>
                <a:lnTo>
                  <a:pt x="9442" y="66025"/>
                </a:lnTo>
                <a:lnTo>
                  <a:pt x="35193" y="31663"/>
                </a:lnTo>
                <a:lnTo>
                  <a:pt x="73386" y="8495"/>
                </a:lnTo>
                <a:lnTo>
                  <a:pt x="120157" y="0"/>
                </a:lnTo>
                <a:lnTo>
                  <a:pt x="166927" y="8495"/>
                </a:lnTo>
                <a:lnTo>
                  <a:pt x="205120" y="31663"/>
                </a:lnTo>
                <a:lnTo>
                  <a:pt x="230871" y="66025"/>
                </a:lnTo>
                <a:lnTo>
                  <a:pt x="240313" y="108104"/>
                </a:lnTo>
                <a:lnTo>
                  <a:pt x="230871" y="150183"/>
                </a:lnTo>
                <a:lnTo>
                  <a:pt x="205120" y="184546"/>
                </a:lnTo>
                <a:lnTo>
                  <a:pt x="166927" y="207714"/>
                </a:lnTo>
                <a:lnTo>
                  <a:pt x="120157" y="216209"/>
                </a:lnTo>
                <a:lnTo>
                  <a:pt x="73386" y="207714"/>
                </a:lnTo>
                <a:lnTo>
                  <a:pt x="35193" y="184546"/>
                </a:lnTo>
                <a:lnTo>
                  <a:pt x="9442" y="150183"/>
                </a:lnTo>
                <a:lnTo>
                  <a:pt x="0" y="108104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1" name="bk object 31"/>
          <p:cNvSpPr/>
          <p:nvPr/>
        </p:nvSpPr>
        <p:spPr>
          <a:xfrm>
            <a:off x="9490212" y="3259292"/>
            <a:ext cx="274392" cy="196519"/>
          </a:xfrm>
          <a:custGeom>
            <a:avLst/>
            <a:gdLst/>
            <a:ahLst/>
            <a:cxnLst/>
            <a:rect l="l" t="t" r="r" b="b"/>
            <a:pathLst>
              <a:path w="240665" h="216535">
                <a:moveTo>
                  <a:pt x="0" y="108102"/>
                </a:moveTo>
                <a:lnTo>
                  <a:pt x="9442" y="150187"/>
                </a:lnTo>
                <a:lnTo>
                  <a:pt x="35193" y="184553"/>
                </a:lnTo>
                <a:lnTo>
                  <a:pt x="73385" y="207721"/>
                </a:lnTo>
                <a:lnTo>
                  <a:pt x="120154" y="216217"/>
                </a:lnTo>
                <a:lnTo>
                  <a:pt x="166930" y="207721"/>
                </a:lnTo>
                <a:lnTo>
                  <a:pt x="205127" y="184553"/>
                </a:lnTo>
                <a:lnTo>
                  <a:pt x="230879" y="150187"/>
                </a:lnTo>
                <a:lnTo>
                  <a:pt x="240322" y="108102"/>
                </a:lnTo>
                <a:lnTo>
                  <a:pt x="230879" y="66024"/>
                </a:lnTo>
                <a:lnTo>
                  <a:pt x="205127" y="31662"/>
                </a:lnTo>
                <a:lnTo>
                  <a:pt x="166930" y="8495"/>
                </a:lnTo>
                <a:lnTo>
                  <a:pt x="120154" y="0"/>
                </a:lnTo>
                <a:lnTo>
                  <a:pt x="73385" y="8495"/>
                </a:lnTo>
                <a:lnTo>
                  <a:pt x="35193" y="31662"/>
                </a:lnTo>
                <a:lnTo>
                  <a:pt x="9442" y="66024"/>
                </a:lnTo>
                <a:lnTo>
                  <a:pt x="0" y="108102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2" name="bk object 32"/>
          <p:cNvSpPr/>
          <p:nvPr/>
        </p:nvSpPr>
        <p:spPr>
          <a:xfrm>
            <a:off x="9490212" y="3259292"/>
            <a:ext cx="274392" cy="196519"/>
          </a:xfrm>
          <a:custGeom>
            <a:avLst/>
            <a:gdLst/>
            <a:ahLst/>
            <a:cxnLst/>
            <a:rect l="l" t="t" r="r" b="b"/>
            <a:pathLst>
              <a:path w="240665" h="216535">
                <a:moveTo>
                  <a:pt x="0" y="108104"/>
                </a:moveTo>
                <a:lnTo>
                  <a:pt x="9442" y="66025"/>
                </a:lnTo>
                <a:lnTo>
                  <a:pt x="35193" y="31663"/>
                </a:lnTo>
                <a:lnTo>
                  <a:pt x="73386" y="8495"/>
                </a:lnTo>
                <a:lnTo>
                  <a:pt x="120157" y="0"/>
                </a:lnTo>
                <a:lnTo>
                  <a:pt x="166927" y="8495"/>
                </a:lnTo>
                <a:lnTo>
                  <a:pt x="205120" y="31663"/>
                </a:lnTo>
                <a:lnTo>
                  <a:pt x="230871" y="66025"/>
                </a:lnTo>
                <a:lnTo>
                  <a:pt x="240313" y="108104"/>
                </a:lnTo>
                <a:lnTo>
                  <a:pt x="230871" y="150183"/>
                </a:lnTo>
                <a:lnTo>
                  <a:pt x="205120" y="184546"/>
                </a:lnTo>
                <a:lnTo>
                  <a:pt x="166927" y="207714"/>
                </a:lnTo>
                <a:lnTo>
                  <a:pt x="120157" y="216209"/>
                </a:lnTo>
                <a:lnTo>
                  <a:pt x="73386" y="207714"/>
                </a:lnTo>
                <a:lnTo>
                  <a:pt x="35193" y="184546"/>
                </a:lnTo>
                <a:lnTo>
                  <a:pt x="9442" y="150183"/>
                </a:lnTo>
                <a:lnTo>
                  <a:pt x="0" y="108104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3" name="bk object 33"/>
          <p:cNvSpPr/>
          <p:nvPr/>
        </p:nvSpPr>
        <p:spPr>
          <a:xfrm>
            <a:off x="10997172" y="2081952"/>
            <a:ext cx="274392" cy="196519"/>
          </a:xfrm>
          <a:custGeom>
            <a:avLst/>
            <a:gdLst/>
            <a:ahLst/>
            <a:cxnLst/>
            <a:rect l="l" t="t" r="r" b="b"/>
            <a:pathLst>
              <a:path w="240665" h="216535">
                <a:moveTo>
                  <a:pt x="0" y="108102"/>
                </a:moveTo>
                <a:lnTo>
                  <a:pt x="9442" y="150180"/>
                </a:lnTo>
                <a:lnTo>
                  <a:pt x="35193" y="184542"/>
                </a:lnTo>
                <a:lnTo>
                  <a:pt x="73387" y="207709"/>
                </a:lnTo>
                <a:lnTo>
                  <a:pt x="120157" y="216204"/>
                </a:lnTo>
                <a:lnTo>
                  <a:pt x="166927" y="207709"/>
                </a:lnTo>
                <a:lnTo>
                  <a:pt x="205121" y="184542"/>
                </a:lnTo>
                <a:lnTo>
                  <a:pt x="230871" y="150180"/>
                </a:lnTo>
                <a:lnTo>
                  <a:pt x="240314" y="108102"/>
                </a:lnTo>
                <a:lnTo>
                  <a:pt x="230871" y="66024"/>
                </a:lnTo>
                <a:lnTo>
                  <a:pt x="205121" y="31662"/>
                </a:lnTo>
                <a:lnTo>
                  <a:pt x="166927" y="8495"/>
                </a:lnTo>
                <a:lnTo>
                  <a:pt x="120157" y="0"/>
                </a:lnTo>
                <a:lnTo>
                  <a:pt x="73387" y="8495"/>
                </a:lnTo>
                <a:lnTo>
                  <a:pt x="35193" y="31662"/>
                </a:lnTo>
                <a:lnTo>
                  <a:pt x="9442" y="66024"/>
                </a:lnTo>
                <a:lnTo>
                  <a:pt x="0" y="108102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4" name="bk object 34"/>
          <p:cNvSpPr/>
          <p:nvPr/>
        </p:nvSpPr>
        <p:spPr>
          <a:xfrm>
            <a:off x="10997172" y="2081952"/>
            <a:ext cx="274392" cy="196519"/>
          </a:xfrm>
          <a:custGeom>
            <a:avLst/>
            <a:gdLst/>
            <a:ahLst/>
            <a:cxnLst/>
            <a:rect l="l" t="t" r="r" b="b"/>
            <a:pathLst>
              <a:path w="240665" h="216535">
                <a:moveTo>
                  <a:pt x="0" y="108104"/>
                </a:moveTo>
                <a:lnTo>
                  <a:pt x="9442" y="66025"/>
                </a:lnTo>
                <a:lnTo>
                  <a:pt x="35193" y="31663"/>
                </a:lnTo>
                <a:lnTo>
                  <a:pt x="73386" y="8495"/>
                </a:lnTo>
                <a:lnTo>
                  <a:pt x="120157" y="0"/>
                </a:lnTo>
                <a:lnTo>
                  <a:pt x="166927" y="8495"/>
                </a:lnTo>
                <a:lnTo>
                  <a:pt x="205120" y="31663"/>
                </a:lnTo>
                <a:lnTo>
                  <a:pt x="230871" y="66025"/>
                </a:lnTo>
                <a:lnTo>
                  <a:pt x="240313" y="108104"/>
                </a:lnTo>
                <a:lnTo>
                  <a:pt x="230871" y="150183"/>
                </a:lnTo>
                <a:lnTo>
                  <a:pt x="205120" y="184546"/>
                </a:lnTo>
                <a:lnTo>
                  <a:pt x="166927" y="207714"/>
                </a:lnTo>
                <a:lnTo>
                  <a:pt x="120157" y="216209"/>
                </a:lnTo>
                <a:lnTo>
                  <a:pt x="73386" y="207714"/>
                </a:lnTo>
                <a:lnTo>
                  <a:pt x="35193" y="184546"/>
                </a:lnTo>
                <a:lnTo>
                  <a:pt x="9442" y="150183"/>
                </a:lnTo>
                <a:lnTo>
                  <a:pt x="0" y="108104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5" name="bk object 35"/>
          <p:cNvSpPr/>
          <p:nvPr/>
        </p:nvSpPr>
        <p:spPr>
          <a:xfrm>
            <a:off x="4002481" y="1787520"/>
            <a:ext cx="3296329" cy="981443"/>
          </a:xfrm>
          <a:custGeom>
            <a:avLst/>
            <a:gdLst/>
            <a:ahLst/>
            <a:cxnLst/>
            <a:rect l="l" t="t" r="r" b="b"/>
            <a:pathLst>
              <a:path w="2891154" h="1081405">
                <a:moveTo>
                  <a:pt x="0" y="1081047"/>
                </a:moveTo>
                <a:lnTo>
                  <a:pt x="2890685" y="0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6" name="bk object 36"/>
          <p:cNvSpPr/>
          <p:nvPr/>
        </p:nvSpPr>
        <p:spPr>
          <a:xfrm>
            <a:off x="5654323" y="5515873"/>
            <a:ext cx="274392" cy="196519"/>
          </a:xfrm>
          <a:custGeom>
            <a:avLst/>
            <a:gdLst/>
            <a:ahLst/>
            <a:cxnLst/>
            <a:rect l="l" t="t" r="r" b="b"/>
            <a:pathLst>
              <a:path w="240664" h="216535">
                <a:moveTo>
                  <a:pt x="0" y="108102"/>
                </a:moveTo>
                <a:lnTo>
                  <a:pt x="9442" y="150180"/>
                </a:lnTo>
                <a:lnTo>
                  <a:pt x="35193" y="184542"/>
                </a:lnTo>
                <a:lnTo>
                  <a:pt x="73385" y="207710"/>
                </a:lnTo>
                <a:lnTo>
                  <a:pt x="120154" y="216206"/>
                </a:lnTo>
                <a:lnTo>
                  <a:pt x="166923" y="207710"/>
                </a:lnTo>
                <a:lnTo>
                  <a:pt x="205116" y="184542"/>
                </a:lnTo>
                <a:lnTo>
                  <a:pt x="230866" y="150180"/>
                </a:lnTo>
                <a:lnTo>
                  <a:pt x="240309" y="108102"/>
                </a:lnTo>
                <a:lnTo>
                  <a:pt x="230866" y="66024"/>
                </a:lnTo>
                <a:lnTo>
                  <a:pt x="205116" y="31662"/>
                </a:lnTo>
                <a:lnTo>
                  <a:pt x="166923" y="8495"/>
                </a:lnTo>
                <a:lnTo>
                  <a:pt x="120154" y="0"/>
                </a:lnTo>
                <a:lnTo>
                  <a:pt x="73385" y="8495"/>
                </a:lnTo>
                <a:lnTo>
                  <a:pt x="35193" y="31662"/>
                </a:lnTo>
                <a:lnTo>
                  <a:pt x="9442" y="66024"/>
                </a:lnTo>
                <a:lnTo>
                  <a:pt x="0" y="108102"/>
                </a:lnTo>
                <a:close/>
              </a:path>
            </a:pathLst>
          </a:custGeom>
          <a:solidFill>
            <a:srgbClr val="BFBFBF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7" name="bk object 37"/>
          <p:cNvSpPr/>
          <p:nvPr/>
        </p:nvSpPr>
        <p:spPr>
          <a:xfrm>
            <a:off x="5654323" y="5515873"/>
            <a:ext cx="274392" cy="196519"/>
          </a:xfrm>
          <a:custGeom>
            <a:avLst/>
            <a:gdLst/>
            <a:ahLst/>
            <a:cxnLst/>
            <a:rect l="l" t="t" r="r" b="b"/>
            <a:pathLst>
              <a:path w="240664" h="216535">
                <a:moveTo>
                  <a:pt x="0" y="108104"/>
                </a:moveTo>
                <a:lnTo>
                  <a:pt x="9442" y="66025"/>
                </a:lnTo>
                <a:lnTo>
                  <a:pt x="35193" y="31663"/>
                </a:lnTo>
                <a:lnTo>
                  <a:pt x="73386" y="8495"/>
                </a:lnTo>
                <a:lnTo>
                  <a:pt x="120157" y="0"/>
                </a:lnTo>
                <a:lnTo>
                  <a:pt x="166927" y="8495"/>
                </a:lnTo>
                <a:lnTo>
                  <a:pt x="205120" y="31663"/>
                </a:lnTo>
                <a:lnTo>
                  <a:pt x="230871" y="66025"/>
                </a:lnTo>
                <a:lnTo>
                  <a:pt x="240313" y="108104"/>
                </a:lnTo>
                <a:lnTo>
                  <a:pt x="230871" y="150183"/>
                </a:lnTo>
                <a:lnTo>
                  <a:pt x="205120" y="184546"/>
                </a:lnTo>
                <a:lnTo>
                  <a:pt x="166927" y="207714"/>
                </a:lnTo>
                <a:lnTo>
                  <a:pt x="120157" y="216209"/>
                </a:lnTo>
                <a:lnTo>
                  <a:pt x="73386" y="207714"/>
                </a:lnTo>
                <a:lnTo>
                  <a:pt x="35193" y="184546"/>
                </a:lnTo>
                <a:lnTo>
                  <a:pt x="9442" y="150183"/>
                </a:lnTo>
                <a:lnTo>
                  <a:pt x="0" y="108104"/>
                </a:lnTo>
                <a:close/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8" name="bk object 38"/>
          <p:cNvSpPr/>
          <p:nvPr/>
        </p:nvSpPr>
        <p:spPr>
          <a:xfrm>
            <a:off x="4413476" y="3357407"/>
            <a:ext cx="5077345" cy="491010"/>
          </a:xfrm>
          <a:custGeom>
            <a:avLst/>
            <a:gdLst/>
            <a:ahLst/>
            <a:cxnLst/>
            <a:rect l="l" t="t" r="r" b="b"/>
            <a:pathLst>
              <a:path w="4453255" h="541020">
                <a:moveTo>
                  <a:pt x="0" y="540415"/>
                </a:moveTo>
                <a:lnTo>
                  <a:pt x="4452724" y="0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39" name="bk object 39"/>
          <p:cNvSpPr/>
          <p:nvPr/>
        </p:nvSpPr>
        <p:spPr>
          <a:xfrm>
            <a:off x="9724075" y="2249435"/>
            <a:ext cx="1313319" cy="1039073"/>
          </a:xfrm>
          <a:custGeom>
            <a:avLst/>
            <a:gdLst/>
            <a:ahLst/>
            <a:cxnLst/>
            <a:rect l="l" t="t" r="r" b="b"/>
            <a:pathLst>
              <a:path w="1151890" h="1144904">
                <a:moveTo>
                  <a:pt x="0" y="1144373"/>
                </a:moveTo>
                <a:lnTo>
                  <a:pt x="1151804" y="0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0" name="bk object 40"/>
          <p:cNvSpPr/>
          <p:nvPr/>
        </p:nvSpPr>
        <p:spPr>
          <a:xfrm>
            <a:off x="5698899" y="3079589"/>
            <a:ext cx="1012863" cy="1587713"/>
          </a:xfrm>
          <a:custGeom>
            <a:avLst/>
            <a:gdLst/>
            <a:ahLst/>
            <a:cxnLst/>
            <a:rect l="l" t="t" r="r" b="b"/>
            <a:pathLst>
              <a:path w="888364" h="1749425">
                <a:moveTo>
                  <a:pt x="887939" y="0"/>
                </a:moveTo>
                <a:lnTo>
                  <a:pt x="0" y="1749233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1" name="bk object 41"/>
          <p:cNvSpPr/>
          <p:nvPr/>
        </p:nvSpPr>
        <p:spPr>
          <a:xfrm>
            <a:off x="1947535" y="4534648"/>
            <a:ext cx="3569997" cy="262794"/>
          </a:xfrm>
          <a:custGeom>
            <a:avLst/>
            <a:gdLst/>
            <a:ahLst/>
            <a:cxnLst/>
            <a:rect l="l" t="t" r="r" b="b"/>
            <a:pathLst>
              <a:path w="3131185" h="289560">
                <a:moveTo>
                  <a:pt x="0" y="0"/>
                </a:moveTo>
                <a:lnTo>
                  <a:pt x="3130998" y="289251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2" name="bk object 42"/>
          <p:cNvSpPr/>
          <p:nvPr/>
        </p:nvSpPr>
        <p:spPr>
          <a:xfrm>
            <a:off x="1947540" y="3986549"/>
            <a:ext cx="2005453" cy="548640"/>
          </a:xfrm>
          <a:custGeom>
            <a:avLst/>
            <a:gdLst/>
            <a:ahLst/>
            <a:cxnLst/>
            <a:rect l="l" t="t" r="r" b="b"/>
            <a:pathLst>
              <a:path w="1758950" h="604520">
                <a:moveTo>
                  <a:pt x="1758487" y="0"/>
                </a:moveTo>
                <a:lnTo>
                  <a:pt x="0" y="603928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3" name="bk object 43"/>
          <p:cNvSpPr/>
          <p:nvPr/>
        </p:nvSpPr>
        <p:spPr>
          <a:xfrm>
            <a:off x="1677481" y="2907319"/>
            <a:ext cx="1864276" cy="1431535"/>
          </a:xfrm>
          <a:custGeom>
            <a:avLst/>
            <a:gdLst/>
            <a:ahLst/>
            <a:cxnLst/>
            <a:rect l="l" t="t" r="r" b="b"/>
            <a:pathLst>
              <a:path w="1635125" h="1577339">
                <a:moveTo>
                  <a:pt x="1634875" y="0"/>
                </a:moveTo>
                <a:lnTo>
                  <a:pt x="0" y="1576985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4" name="bk object 44"/>
          <p:cNvSpPr/>
          <p:nvPr/>
        </p:nvSpPr>
        <p:spPr>
          <a:xfrm>
            <a:off x="4334376" y="1926200"/>
            <a:ext cx="3043656" cy="1783079"/>
          </a:xfrm>
          <a:custGeom>
            <a:avLst/>
            <a:gdLst/>
            <a:ahLst/>
            <a:cxnLst/>
            <a:rect l="l" t="t" r="r" b="b"/>
            <a:pathLst>
              <a:path w="2669540" h="1964689">
                <a:moveTo>
                  <a:pt x="2668964" y="0"/>
                </a:moveTo>
                <a:lnTo>
                  <a:pt x="0" y="1964589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5" name="bk object 45"/>
          <p:cNvSpPr/>
          <p:nvPr/>
        </p:nvSpPr>
        <p:spPr>
          <a:xfrm>
            <a:off x="7184350" y="2180060"/>
            <a:ext cx="3813257" cy="560742"/>
          </a:xfrm>
          <a:custGeom>
            <a:avLst/>
            <a:gdLst/>
            <a:ahLst/>
            <a:cxnLst/>
            <a:rect l="l" t="t" r="r" b="b"/>
            <a:pathLst>
              <a:path w="3344545" h="617855">
                <a:moveTo>
                  <a:pt x="3344164" y="0"/>
                </a:moveTo>
                <a:lnTo>
                  <a:pt x="0" y="617839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6" name="bk object 46"/>
          <p:cNvSpPr/>
          <p:nvPr/>
        </p:nvSpPr>
        <p:spPr>
          <a:xfrm>
            <a:off x="7568323" y="1983634"/>
            <a:ext cx="552405" cy="2943753"/>
          </a:xfrm>
          <a:custGeom>
            <a:avLst/>
            <a:gdLst/>
            <a:ahLst/>
            <a:cxnLst/>
            <a:rect l="l" t="t" r="r" b="b"/>
            <a:pathLst>
              <a:path w="484504" h="3243579">
                <a:moveTo>
                  <a:pt x="0" y="0"/>
                </a:moveTo>
                <a:lnTo>
                  <a:pt x="484085" y="3243362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7" name="bk object 47"/>
          <p:cNvSpPr/>
          <p:nvPr/>
        </p:nvSpPr>
        <p:spPr>
          <a:xfrm>
            <a:off x="4413475" y="3847868"/>
            <a:ext cx="3569997" cy="1177962"/>
          </a:xfrm>
          <a:custGeom>
            <a:avLst/>
            <a:gdLst/>
            <a:ahLst/>
            <a:cxnLst/>
            <a:rect l="l" t="t" r="r" b="b"/>
            <a:pathLst>
              <a:path w="3131184" h="1297939">
                <a:moveTo>
                  <a:pt x="0" y="0"/>
                </a:moveTo>
                <a:lnTo>
                  <a:pt x="3130998" y="1297365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8" name="bk object 48"/>
          <p:cNvSpPr/>
          <p:nvPr/>
        </p:nvSpPr>
        <p:spPr>
          <a:xfrm>
            <a:off x="5880460" y="4797167"/>
            <a:ext cx="2103192" cy="228216"/>
          </a:xfrm>
          <a:custGeom>
            <a:avLst/>
            <a:gdLst/>
            <a:ahLst/>
            <a:cxnLst/>
            <a:rect l="l" t="t" r="r" b="b"/>
            <a:pathLst>
              <a:path w="1844675" h="251460">
                <a:moveTo>
                  <a:pt x="1844326" y="251381"/>
                </a:moveTo>
                <a:lnTo>
                  <a:pt x="0" y="0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49" name="bk object 49"/>
          <p:cNvSpPr/>
          <p:nvPr/>
        </p:nvSpPr>
        <p:spPr>
          <a:xfrm>
            <a:off x="5888185" y="3426775"/>
            <a:ext cx="3642396" cy="2117912"/>
          </a:xfrm>
          <a:custGeom>
            <a:avLst/>
            <a:gdLst/>
            <a:ahLst/>
            <a:cxnLst/>
            <a:rect l="l" t="t" r="r" b="b"/>
            <a:pathLst>
              <a:path w="3194684" h="2333625">
                <a:moveTo>
                  <a:pt x="3194470" y="0"/>
                </a:moveTo>
                <a:lnTo>
                  <a:pt x="0" y="2333533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50" name="bk object 50"/>
          <p:cNvSpPr/>
          <p:nvPr/>
        </p:nvSpPr>
        <p:spPr>
          <a:xfrm>
            <a:off x="5698891" y="4927203"/>
            <a:ext cx="92671" cy="588981"/>
          </a:xfrm>
          <a:custGeom>
            <a:avLst/>
            <a:gdLst/>
            <a:ahLst/>
            <a:cxnLst/>
            <a:rect l="l" t="t" r="r" b="b"/>
            <a:pathLst>
              <a:path w="81279" h="648970">
                <a:moveTo>
                  <a:pt x="0" y="0"/>
                </a:moveTo>
                <a:lnTo>
                  <a:pt x="81063" y="648629"/>
                </a:lnTo>
              </a:path>
            </a:pathLst>
          </a:custGeom>
          <a:ln w="3607">
            <a:solidFill>
              <a:srgbClr val="F2F2F2"/>
            </a:solidFill>
          </a:ln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52688" y="1025623"/>
            <a:ext cx="10486625" cy="309187"/>
          </a:xfrm>
        </p:spPr>
        <p:txBody>
          <a:bodyPr lIns="0" tIns="0" rIns="0" bIns="0"/>
          <a:lstStyle>
            <a:lvl1pPr>
              <a:defRPr sz="2009" b="0" i="0">
                <a:solidFill>
                  <a:srgbClr val="002060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5/18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55" b="0" i="0">
                <a:solidFill>
                  <a:srgbClr val="898989"/>
                </a:solidFill>
                <a:latin typeface="Tahoma"/>
                <a:cs typeface="Tahoma"/>
              </a:defRPr>
            </a:lvl1pPr>
          </a:lstStyle>
          <a:p>
            <a:pPr marL="21720">
              <a:lnSpc>
                <a:spcPts val="898"/>
              </a:lnSpc>
            </a:pPr>
            <a:fld id="{81D60167-4931-47E6-BA6A-407CBD079E47}" type="slidenum">
              <a:rPr lang="en-US" spc="17" smtClean="0"/>
              <a:pPr marL="21720">
                <a:lnSpc>
                  <a:spcPts val="898"/>
                </a:lnSpc>
              </a:pPr>
              <a:t>‹#›</a:t>
            </a:fld>
            <a:endParaRPr lang="en-US" spc="17" dirty="0"/>
          </a:p>
        </p:txBody>
      </p:sp>
      <p:sp>
        <p:nvSpPr>
          <p:cNvPr id="52" name="bk object 16">
            <a:extLst>
              <a:ext uri="{FF2B5EF4-FFF2-40B4-BE49-F238E27FC236}">
                <a16:creationId xmlns:a16="http://schemas.microsoft.com/office/drawing/2014/main" id="{05F16DB7-F5F1-4C4C-AEFB-5C97662B04DF}"/>
              </a:ext>
            </a:extLst>
          </p:cNvPr>
          <p:cNvSpPr/>
          <p:nvPr userDrawn="1"/>
        </p:nvSpPr>
        <p:spPr>
          <a:xfrm>
            <a:off x="10266187" y="119376"/>
            <a:ext cx="1811272" cy="61252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/>
          </a:p>
        </p:txBody>
      </p:sp>
    </p:spTree>
    <p:extLst>
      <p:ext uri="{BB962C8B-B14F-4D97-AF65-F5344CB8AC3E}">
        <p14:creationId xmlns:p14="http://schemas.microsoft.com/office/powerpoint/2010/main" val="37402076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 userDrawn="1"/>
        </p:nvSpPr>
        <p:spPr>
          <a:xfrm>
            <a:off x="10092428" y="196280"/>
            <a:ext cx="1811272" cy="612529"/>
          </a:xfrm>
          <a:prstGeom prst="rect">
            <a:avLst/>
          </a:pr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52688" y="1025623"/>
            <a:ext cx="10486625" cy="3616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350" b="0" i="0">
                <a:solidFill>
                  <a:srgbClr val="002060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612646" y="2439464"/>
            <a:ext cx="8966709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1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5/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256338" y="5759424"/>
            <a:ext cx="141901" cy="3462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55" b="0" i="0">
                <a:solidFill>
                  <a:srgbClr val="898989"/>
                </a:solidFill>
                <a:latin typeface="Tahoma"/>
                <a:cs typeface="Tahoma"/>
              </a:defRPr>
            </a:lvl1pPr>
          </a:lstStyle>
          <a:p>
            <a:pPr marL="21720">
              <a:lnSpc>
                <a:spcPts val="898"/>
              </a:lnSpc>
            </a:pPr>
            <a:fld id="{81D60167-4931-47E6-BA6A-407CBD079E47}" type="slidenum">
              <a:rPr lang="en-US" spc="17" smtClean="0"/>
              <a:pPr marL="21720">
                <a:lnSpc>
                  <a:spcPts val="898"/>
                </a:lnSpc>
              </a:pPr>
              <a:t>‹#›</a:t>
            </a:fld>
            <a:endParaRPr lang="en-US" spc="17" dirty="0"/>
          </a:p>
        </p:txBody>
      </p:sp>
    </p:spTree>
    <p:extLst>
      <p:ext uri="{BB962C8B-B14F-4D97-AF65-F5344CB8AC3E}">
        <p14:creationId xmlns:p14="http://schemas.microsoft.com/office/powerpoint/2010/main" val="2159143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87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390952">
        <a:defRPr>
          <a:latin typeface="+mn-lt"/>
          <a:ea typeface="+mn-ea"/>
          <a:cs typeface="+mn-cs"/>
        </a:defRPr>
      </a:lvl2pPr>
      <a:lvl3pPr marL="781903">
        <a:defRPr>
          <a:latin typeface="+mn-lt"/>
          <a:ea typeface="+mn-ea"/>
          <a:cs typeface="+mn-cs"/>
        </a:defRPr>
      </a:lvl3pPr>
      <a:lvl4pPr marL="1172855">
        <a:defRPr>
          <a:latin typeface="+mn-lt"/>
          <a:ea typeface="+mn-ea"/>
          <a:cs typeface="+mn-cs"/>
        </a:defRPr>
      </a:lvl4pPr>
      <a:lvl5pPr marL="1563807">
        <a:defRPr>
          <a:latin typeface="+mn-lt"/>
          <a:ea typeface="+mn-ea"/>
          <a:cs typeface="+mn-cs"/>
        </a:defRPr>
      </a:lvl5pPr>
      <a:lvl6pPr marL="1954759">
        <a:defRPr>
          <a:latin typeface="+mn-lt"/>
          <a:ea typeface="+mn-ea"/>
          <a:cs typeface="+mn-cs"/>
        </a:defRPr>
      </a:lvl6pPr>
      <a:lvl7pPr marL="2345710">
        <a:defRPr>
          <a:latin typeface="+mn-lt"/>
          <a:ea typeface="+mn-ea"/>
          <a:cs typeface="+mn-cs"/>
        </a:defRPr>
      </a:lvl7pPr>
      <a:lvl8pPr marL="2736662">
        <a:defRPr>
          <a:latin typeface="+mn-lt"/>
          <a:ea typeface="+mn-ea"/>
          <a:cs typeface="+mn-cs"/>
        </a:defRPr>
      </a:lvl8pPr>
      <a:lvl9pPr marL="3127614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90952">
        <a:defRPr>
          <a:latin typeface="+mn-lt"/>
          <a:ea typeface="+mn-ea"/>
          <a:cs typeface="+mn-cs"/>
        </a:defRPr>
      </a:lvl2pPr>
      <a:lvl3pPr marL="781903">
        <a:defRPr>
          <a:latin typeface="+mn-lt"/>
          <a:ea typeface="+mn-ea"/>
          <a:cs typeface="+mn-cs"/>
        </a:defRPr>
      </a:lvl3pPr>
      <a:lvl4pPr marL="1172855">
        <a:defRPr>
          <a:latin typeface="+mn-lt"/>
          <a:ea typeface="+mn-ea"/>
          <a:cs typeface="+mn-cs"/>
        </a:defRPr>
      </a:lvl4pPr>
      <a:lvl5pPr marL="1563807">
        <a:defRPr>
          <a:latin typeface="+mn-lt"/>
          <a:ea typeface="+mn-ea"/>
          <a:cs typeface="+mn-cs"/>
        </a:defRPr>
      </a:lvl5pPr>
      <a:lvl6pPr marL="1954759">
        <a:defRPr>
          <a:latin typeface="+mn-lt"/>
          <a:ea typeface="+mn-ea"/>
          <a:cs typeface="+mn-cs"/>
        </a:defRPr>
      </a:lvl6pPr>
      <a:lvl7pPr marL="2345710">
        <a:defRPr>
          <a:latin typeface="+mn-lt"/>
          <a:ea typeface="+mn-ea"/>
          <a:cs typeface="+mn-cs"/>
        </a:defRPr>
      </a:lvl7pPr>
      <a:lvl8pPr marL="2736662">
        <a:defRPr>
          <a:latin typeface="+mn-lt"/>
          <a:ea typeface="+mn-ea"/>
          <a:cs typeface="+mn-cs"/>
        </a:defRPr>
      </a:lvl8pPr>
      <a:lvl9pPr marL="3127614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52688" y="1025623"/>
            <a:ext cx="10486625" cy="3616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350" b="0" i="0">
                <a:solidFill>
                  <a:srgbClr val="002060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612646" y="2439464"/>
            <a:ext cx="8966709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1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5/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256338" y="5759424"/>
            <a:ext cx="141901" cy="3462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55" b="0" i="0">
                <a:solidFill>
                  <a:srgbClr val="898989"/>
                </a:solidFill>
                <a:latin typeface="Tahoma"/>
                <a:cs typeface="Tahoma"/>
              </a:defRPr>
            </a:lvl1pPr>
          </a:lstStyle>
          <a:p>
            <a:pPr marL="21720">
              <a:lnSpc>
                <a:spcPts val="898"/>
              </a:lnSpc>
            </a:pPr>
            <a:fld id="{81D60167-4931-47E6-BA6A-407CBD079E47}" type="slidenum">
              <a:rPr lang="en-US" spc="17" smtClean="0"/>
              <a:pPr marL="21720">
                <a:lnSpc>
                  <a:spcPts val="898"/>
                </a:lnSpc>
              </a:pPr>
              <a:t>‹#›</a:t>
            </a:fld>
            <a:endParaRPr lang="en-US" spc="17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58ABD2D-EEF6-B64D-A73C-FE73EB093C3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alphaModFix amt="4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00519">
            <a:off x="-296373" y="-969476"/>
            <a:ext cx="4423551" cy="374404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8AC662E-C4F3-A540-AB28-5415CB94503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alphaModFix am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3336152">
            <a:off x="8753449" y="3999261"/>
            <a:ext cx="4423551" cy="3744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763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390952">
        <a:defRPr>
          <a:latin typeface="+mn-lt"/>
          <a:ea typeface="+mn-ea"/>
          <a:cs typeface="+mn-cs"/>
        </a:defRPr>
      </a:lvl2pPr>
      <a:lvl3pPr marL="781903">
        <a:defRPr>
          <a:latin typeface="+mn-lt"/>
          <a:ea typeface="+mn-ea"/>
          <a:cs typeface="+mn-cs"/>
        </a:defRPr>
      </a:lvl3pPr>
      <a:lvl4pPr marL="1172855">
        <a:defRPr>
          <a:latin typeface="+mn-lt"/>
          <a:ea typeface="+mn-ea"/>
          <a:cs typeface="+mn-cs"/>
        </a:defRPr>
      </a:lvl4pPr>
      <a:lvl5pPr marL="1563807">
        <a:defRPr>
          <a:latin typeface="+mn-lt"/>
          <a:ea typeface="+mn-ea"/>
          <a:cs typeface="+mn-cs"/>
        </a:defRPr>
      </a:lvl5pPr>
      <a:lvl6pPr marL="1954759">
        <a:defRPr>
          <a:latin typeface="+mn-lt"/>
          <a:ea typeface="+mn-ea"/>
          <a:cs typeface="+mn-cs"/>
        </a:defRPr>
      </a:lvl6pPr>
      <a:lvl7pPr marL="2345710">
        <a:defRPr>
          <a:latin typeface="+mn-lt"/>
          <a:ea typeface="+mn-ea"/>
          <a:cs typeface="+mn-cs"/>
        </a:defRPr>
      </a:lvl7pPr>
      <a:lvl8pPr marL="2736662">
        <a:defRPr>
          <a:latin typeface="+mn-lt"/>
          <a:ea typeface="+mn-ea"/>
          <a:cs typeface="+mn-cs"/>
        </a:defRPr>
      </a:lvl8pPr>
      <a:lvl9pPr marL="3127614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90952">
        <a:defRPr>
          <a:latin typeface="+mn-lt"/>
          <a:ea typeface="+mn-ea"/>
          <a:cs typeface="+mn-cs"/>
        </a:defRPr>
      </a:lvl2pPr>
      <a:lvl3pPr marL="781903">
        <a:defRPr>
          <a:latin typeface="+mn-lt"/>
          <a:ea typeface="+mn-ea"/>
          <a:cs typeface="+mn-cs"/>
        </a:defRPr>
      </a:lvl3pPr>
      <a:lvl4pPr marL="1172855">
        <a:defRPr>
          <a:latin typeface="+mn-lt"/>
          <a:ea typeface="+mn-ea"/>
          <a:cs typeface="+mn-cs"/>
        </a:defRPr>
      </a:lvl4pPr>
      <a:lvl5pPr marL="1563807">
        <a:defRPr>
          <a:latin typeface="+mn-lt"/>
          <a:ea typeface="+mn-ea"/>
          <a:cs typeface="+mn-cs"/>
        </a:defRPr>
      </a:lvl5pPr>
      <a:lvl6pPr marL="1954759">
        <a:defRPr>
          <a:latin typeface="+mn-lt"/>
          <a:ea typeface="+mn-ea"/>
          <a:cs typeface="+mn-cs"/>
        </a:defRPr>
      </a:lvl6pPr>
      <a:lvl7pPr marL="2345710">
        <a:defRPr>
          <a:latin typeface="+mn-lt"/>
          <a:ea typeface="+mn-ea"/>
          <a:cs typeface="+mn-cs"/>
        </a:defRPr>
      </a:lvl7pPr>
      <a:lvl8pPr marL="2736662">
        <a:defRPr>
          <a:latin typeface="+mn-lt"/>
          <a:ea typeface="+mn-ea"/>
          <a:cs typeface="+mn-cs"/>
        </a:defRPr>
      </a:lvl8pPr>
      <a:lvl9pPr marL="3127614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c/house-prices-advanced-regression-techniques/" TargetMode="Externa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0" y="4046851"/>
            <a:ext cx="12192000" cy="15111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 defTabSz="781903">
              <a:defRPr/>
            </a:pPr>
            <a:r>
              <a:rPr lang="en-US" sz="3420" b="1" dirty="0">
                <a:solidFill>
                  <a:schemeClr val="accent5">
                    <a:lumMod val="50000"/>
                  </a:schemeClr>
                </a:solidFill>
                <a:latin typeface="Myriad Pro" charset="0"/>
                <a:ea typeface="Myriad Pro" charset="0"/>
                <a:cs typeface="Myriad Pro" charset="0"/>
              </a:rPr>
              <a:t>Mini Project – Regression</a:t>
            </a:r>
          </a:p>
          <a:p>
            <a:pPr algn="ctr" defTabSz="781903">
              <a:defRPr/>
            </a:pPr>
            <a:r>
              <a:rPr lang="en-US" sz="2400" dirty="0">
                <a:latin typeface="Myriad Pro" charset="0"/>
                <a:ea typeface="Myriad Pro" charset="0"/>
                <a:cs typeface="Myriad Pro" charset="0"/>
              </a:rPr>
              <a:t>House Price Prediction in Kaggle</a:t>
            </a:r>
          </a:p>
          <a:p>
            <a:pPr algn="ctr" defTabSz="781903">
              <a:defRPr/>
            </a:pPr>
            <a:endParaRPr lang="en-US" sz="1000" dirty="0">
              <a:latin typeface="Myriad Pro" charset="0"/>
              <a:ea typeface="Myriad Pro" charset="0"/>
              <a:cs typeface="Myriad Pro" charset="0"/>
            </a:endParaRPr>
          </a:p>
          <a:p>
            <a:pPr algn="ctr" defTabSz="781903">
              <a:defRPr/>
            </a:pPr>
            <a:r>
              <a:rPr lang="en-US" sz="2400" b="1" dirty="0">
                <a:latin typeface="Myriad Pro" charset="0"/>
                <a:ea typeface="Myriad Pro" charset="0"/>
                <a:cs typeface="Myriad Pro" charset="0"/>
              </a:rPr>
              <a:t>6, 7, 12 June 2018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7308" y="1740488"/>
            <a:ext cx="4537384" cy="1592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0010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F032E8-C982-2240-934F-7C04E3F720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688" y="1025623"/>
            <a:ext cx="10486625" cy="430887"/>
          </a:xfrm>
        </p:spPr>
        <p:txBody>
          <a:bodyPr/>
          <a:lstStyle/>
          <a:p>
            <a:r>
              <a:rPr lang="en-US" sz="2800" dirty="0"/>
              <a:t>Feature Engineering / Selec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020346-88E8-4541-BFF8-F5997016CF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13388" y="1915761"/>
            <a:ext cx="8966709" cy="3939540"/>
          </a:xfrm>
        </p:spPr>
        <p:txBody>
          <a:bodyPr/>
          <a:lstStyle/>
          <a:p>
            <a:r>
              <a:rPr lang="en-US" sz="1600" dirty="0"/>
              <a:t>What to do when assumptions not satisfied?</a:t>
            </a:r>
          </a:p>
          <a:p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Transform variables (basically for items 1, 2 ,4 and 5)</a:t>
            </a:r>
          </a:p>
          <a:p>
            <a:pPr marL="562402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Box-Cox suggestion for log, polynomial, </a:t>
            </a:r>
            <a:r>
              <a:rPr lang="en-US" sz="1600"/>
              <a:t>or fractional-exponential transform</a:t>
            </a:r>
            <a:endParaRPr lang="en-US" sz="1600" dirty="0"/>
          </a:p>
          <a:p>
            <a:pPr marL="953353" lvl="2" indent="-171450">
              <a:buFont typeface="Wingdings" pitchFamily="2" charset="2"/>
              <a:buChar char="Ø"/>
            </a:pPr>
            <a:r>
              <a:rPr lang="en-US" sz="1600" dirty="0"/>
              <a:t>library(MASS)</a:t>
            </a:r>
          </a:p>
          <a:p>
            <a:pPr marL="953353" lvl="2" indent="-171450">
              <a:buFont typeface="Wingdings" pitchFamily="2" charset="2"/>
              <a:buChar char="Ø"/>
            </a:pPr>
            <a:r>
              <a:rPr lang="en-US" sz="1600" dirty="0" err="1"/>
              <a:t>boxcox</a:t>
            </a:r>
            <a:r>
              <a:rPr lang="en-US" sz="1600" dirty="0"/>
              <a:t>(…)</a:t>
            </a:r>
          </a:p>
          <a:p>
            <a:endParaRPr lang="en-US" sz="1600" dirty="0"/>
          </a:p>
          <a:p>
            <a:r>
              <a:rPr lang="en-US" sz="1600" dirty="0"/>
              <a:t>Variable selection (applies for item 3)</a:t>
            </a:r>
          </a:p>
          <a:p>
            <a:endParaRPr lang="en-US" sz="1600" dirty="0"/>
          </a:p>
          <a:p>
            <a:r>
              <a:rPr lang="en-US" sz="1600" dirty="0"/>
              <a:t>Use other complex methods of regressio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Polynomial regress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LOWESS (non-parametric regressio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Support vector regress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Regression fore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Gradient boos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Neural network regression</a:t>
            </a:r>
          </a:p>
        </p:txBody>
      </p:sp>
    </p:spTree>
    <p:extLst>
      <p:ext uri="{BB962C8B-B14F-4D97-AF65-F5344CB8AC3E}">
        <p14:creationId xmlns:p14="http://schemas.microsoft.com/office/powerpoint/2010/main" val="17967821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73F46D-0D14-8B44-85F6-DA07754FD1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12646" y="2439464"/>
            <a:ext cx="8966709" cy="2185214"/>
          </a:xfrm>
        </p:spPr>
        <p:txBody>
          <a:bodyPr/>
          <a:lstStyle/>
          <a:p>
            <a:r>
              <a:rPr lang="en-US" sz="2400" dirty="0"/>
              <a:t>Some common methods for feature selection</a:t>
            </a:r>
            <a:endParaRPr lang="en-US" sz="1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/>
              <a:t>LASSO is frequently used in linear and logistic regression for feature sele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/>
              <a:t>Random forest and </a:t>
            </a:r>
            <a:r>
              <a:rPr lang="en-US" sz="1800" dirty="0" err="1"/>
              <a:t>XGBoost</a:t>
            </a:r>
            <a:r>
              <a:rPr lang="en-US" sz="1800" dirty="0"/>
              <a:t> have the parameter on importance</a:t>
            </a:r>
            <a:endParaRPr lang="en-US" dirty="0"/>
          </a:p>
          <a:p>
            <a:pPr marL="562402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The importance of a variable can help to make a decision on which variables to include</a:t>
            </a:r>
          </a:p>
          <a:p>
            <a:pPr marL="562402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This is useful when there are too many variables and too few samples</a:t>
            </a:r>
          </a:p>
          <a:p>
            <a:pPr marL="562402" lvl="1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562402" lvl="1" indent="-1714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D10619C-D9FC-1F4F-ADAA-91931F0D8B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Feature Engineering / Selection</a:t>
            </a:r>
          </a:p>
        </p:txBody>
      </p:sp>
    </p:spTree>
    <p:extLst>
      <p:ext uri="{BB962C8B-B14F-4D97-AF65-F5344CB8AC3E}">
        <p14:creationId xmlns:p14="http://schemas.microsoft.com/office/powerpoint/2010/main" val="24146492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31D647-45AE-1641-883F-1E2280478F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on of 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E88DE1-BEE2-184C-8014-A17C0E4A1E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12646" y="2439464"/>
            <a:ext cx="8966709" cy="356623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 evaluation metric here is root mean squared error on the logarithm of price difference</a:t>
            </a:r>
          </a:p>
          <a:p>
            <a:pPr marL="676702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Logarithm transforms multiplicative scale into additive scale where regression works</a:t>
            </a:r>
            <a:endParaRPr lang="en-US" sz="2374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valuation can be done by bootstrapping (small &lt; 100 sample size), cross-validation (medium sized), or holdout.</a:t>
            </a:r>
          </a:p>
          <a:p>
            <a:pPr marL="676702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The R package caret has utilities for train-test evaluation</a:t>
            </a:r>
            <a:endParaRPr lang="en-US" sz="2374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hen there are insufficient samples and/or unbalanced classes, cross-validation and holdout are problematic, since there can be levels in the test set that is not seen in the train 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Unbalanced labels can be tackled with </a:t>
            </a:r>
          </a:p>
          <a:p>
            <a:pPr marL="676702" lvl="1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undersampling</a:t>
            </a:r>
            <a:r>
              <a:rPr lang="en-US" sz="1600" dirty="0"/>
              <a:t> the majority class</a:t>
            </a:r>
          </a:p>
          <a:p>
            <a:pPr marL="562402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  SMOTE (Synthetic Minority Over-sampling Technique)</a:t>
            </a:r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Consider which samples did badly on the training/validation set. Ask yourself, what could be the cause of their error? What should you do with these “outliers”?</a:t>
            </a:r>
            <a:endParaRPr lang="en-US" sz="2374" dirty="0"/>
          </a:p>
        </p:txBody>
      </p:sp>
    </p:spTree>
    <p:extLst>
      <p:ext uri="{BB962C8B-B14F-4D97-AF65-F5344CB8AC3E}">
        <p14:creationId xmlns:p14="http://schemas.microsoft.com/office/powerpoint/2010/main" val="2102744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02CBA7-F78F-DF46-98A4-843CA3C24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2059" y="1821864"/>
            <a:ext cx="1607879" cy="430887"/>
          </a:xfrm>
        </p:spPr>
        <p:txBody>
          <a:bodyPr/>
          <a:lstStyle/>
          <a:p>
            <a:r>
              <a:rPr lang="en-US" sz="2800" dirty="0"/>
              <a:t>Report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A3C7E5-E1F0-9E41-AA7E-57BADAC910BD}"/>
              </a:ext>
            </a:extLst>
          </p:cNvPr>
          <p:cNvSpPr txBox="1"/>
          <p:nvPr/>
        </p:nvSpPr>
        <p:spPr>
          <a:xfrm>
            <a:off x="2981122" y="3424845"/>
            <a:ext cx="62297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You will need to submit your prediction to Kaggle and present a report on what you have done and your justification.</a:t>
            </a:r>
          </a:p>
        </p:txBody>
      </p:sp>
    </p:spTree>
    <p:extLst>
      <p:ext uri="{BB962C8B-B14F-4D97-AF65-F5344CB8AC3E}">
        <p14:creationId xmlns:p14="http://schemas.microsoft.com/office/powerpoint/2010/main" val="466323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6339446" y="-239814"/>
            <a:ext cx="223520" cy="4362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800" b="1" dirty="0">
                <a:solidFill>
                  <a:srgbClr val="ECF0F1"/>
                </a:solidFill>
                <a:latin typeface="Arial"/>
                <a:cs typeface="Arial"/>
              </a:rPr>
              <a:t>1</a:t>
            </a:r>
            <a:endParaRPr sz="2800">
              <a:latin typeface="Arial"/>
              <a:cs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7425BD1-DB7C-5440-A66A-29ADD916959D}"/>
              </a:ext>
            </a:extLst>
          </p:cNvPr>
          <p:cNvGrpSpPr/>
          <p:nvPr/>
        </p:nvGrpSpPr>
        <p:grpSpPr>
          <a:xfrm>
            <a:off x="647088" y="1058778"/>
            <a:ext cx="10897824" cy="688109"/>
            <a:chOff x="760776" y="1100505"/>
            <a:chExt cx="10897824" cy="688109"/>
          </a:xfrm>
        </p:grpSpPr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AE2DEA2A-1705-2640-95B4-2F59C163500B}"/>
                </a:ext>
              </a:extLst>
            </p:cNvPr>
            <p:cNvSpPr/>
            <p:nvPr/>
          </p:nvSpPr>
          <p:spPr>
            <a:xfrm>
              <a:off x="990600" y="1100505"/>
              <a:ext cx="10668000" cy="68810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Cleaning Exercise in R</a:t>
              </a:r>
              <a:endParaRPr lang="en-SG" sz="20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5E2BFFAA-ED3E-5342-A3D8-F6B9542C22C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60776" y="1137456"/>
              <a:ext cx="548714" cy="548640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73152" tIns="73152" rIns="73152" bIns="7315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en-US" sz="2000" b="1" kern="0" dirty="0">
                  <a:solidFill>
                    <a:srgbClr val="FFFFFF"/>
                  </a:solidFill>
                  <a:latin typeface="Arial" charset="0"/>
                  <a:ea typeface="ＭＳ Ｐゴシック" charset="0"/>
                  <a:cs typeface="Arial" charset="0"/>
                </a:rPr>
                <a:t>1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E437CA3-22DF-3047-A024-029B4EE327CD}"/>
              </a:ext>
            </a:extLst>
          </p:cNvPr>
          <p:cNvGrpSpPr/>
          <p:nvPr/>
        </p:nvGrpSpPr>
        <p:grpSpPr>
          <a:xfrm>
            <a:off x="647088" y="1940769"/>
            <a:ext cx="10897824" cy="688109"/>
            <a:chOff x="782547" y="2004579"/>
            <a:chExt cx="10897824" cy="688109"/>
          </a:xfrm>
        </p:grpSpPr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0D6EED37-BF76-134B-A40A-C2A721BAEEAF}"/>
                </a:ext>
              </a:extLst>
            </p:cNvPr>
            <p:cNvSpPr/>
            <p:nvPr/>
          </p:nvSpPr>
          <p:spPr>
            <a:xfrm>
              <a:off x="1012371" y="2004579"/>
              <a:ext cx="10668000" cy="68810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SG" sz="20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ssing Data Imputation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89002F72-9711-9B46-A48E-69533A697B8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82547" y="2041530"/>
              <a:ext cx="548714" cy="54864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73152" tIns="73152" rIns="73152" bIns="7315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2000" b="1" kern="0" dirty="0">
                  <a:solidFill>
                    <a:srgbClr val="FFFFFF"/>
                  </a:solidFill>
                  <a:latin typeface="Arial" charset="0"/>
                  <a:ea typeface="ＭＳ Ｐゴシック" charset="0"/>
                  <a:cs typeface="Arial" charset="0"/>
                </a:rPr>
                <a:t>2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91E65D8-1F41-B64D-94F0-33B91B549E61}"/>
              </a:ext>
            </a:extLst>
          </p:cNvPr>
          <p:cNvGrpSpPr/>
          <p:nvPr/>
        </p:nvGrpSpPr>
        <p:grpSpPr>
          <a:xfrm>
            <a:off x="647088" y="3704751"/>
            <a:ext cx="10897824" cy="688109"/>
            <a:chOff x="782547" y="2602174"/>
            <a:chExt cx="10897824" cy="688109"/>
          </a:xfrm>
        </p:grpSpPr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id="{F998FCBC-2A75-2D45-9849-B28F3C93CCDA}"/>
                </a:ext>
              </a:extLst>
            </p:cNvPr>
            <p:cNvSpPr/>
            <p:nvPr/>
          </p:nvSpPr>
          <p:spPr>
            <a:xfrm>
              <a:off x="1012371" y="2602174"/>
              <a:ext cx="10668000" cy="68810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SG" sz="20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ature Engineering / Selection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7C43AD5-52CA-BB46-A939-3116338DC97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82547" y="2639125"/>
              <a:ext cx="548714" cy="54864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73152" tIns="73152" rIns="73152" bIns="7315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2000" b="1" kern="0" dirty="0">
                  <a:solidFill>
                    <a:srgbClr val="FFFFFF"/>
                  </a:solidFill>
                  <a:latin typeface="Arial" charset="0"/>
                  <a:ea typeface="ＭＳ Ｐゴシック" charset="0"/>
                  <a:cs typeface="Arial" charset="0"/>
                </a:rPr>
                <a:t>4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0E02FAB-3540-B346-869A-C0CCAC509991}"/>
              </a:ext>
            </a:extLst>
          </p:cNvPr>
          <p:cNvGrpSpPr/>
          <p:nvPr/>
        </p:nvGrpSpPr>
        <p:grpSpPr>
          <a:xfrm>
            <a:off x="647088" y="4586742"/>
            <a:ext cx="10897824" cy="688109"/>
            <a:chOff x="782547" y="3199769"/>
            <a:chExt cx="10897824" cy="688109"/>
          </a:xfrm>
        </p:grpSpPr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99C391EE-DDEA-884F-AA4C-D25BB41D9890}"/>
                </a:ext>
              </a:extLst>
            </p:cNvPr>
            <p:cNvSpPr/>
            <p:nvPr/>
          </p:nvSpPr>
          <p:spPr>
            <a:xfrm>
              <a:off x="1012371" y="3199769"/>
              <a:ext cx="10668000" cy="68810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SG" sz="20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aluation of Results</a:t>
              </a: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35CF7F73-DF59-8A43-8F0D-DDA2608AF12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82547" y="3236720"/>
              <a:ext cx="548714" cy="54864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73152" tIns="73152" rIns="73152" bIns="7315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2000" b="1" kern="0" dirty="0">
                  <a:solidFill>
                    <a:srgbClr val="FFFFFF"/>
                  </a:solidFill>
                  <a:latin typeface="Arial" charset="0"/>
                  <a:ea typeface="ＭＳ Ｐゴシック" charset="0"/>
                  <a:cs typeface="Arial" charset="0"/>
                </a:rPr>
                <a:t>5</a:t>
              </a:r>
            </a:p>
          </p:txBody>
        </p:sp>
      </p:grpSp>
      <p:sp>
        <p:nvSpPr>
          <p:cNvPr id="22" name="object 2">
            <a:extLst>
              <a:ext uri="{FF2B5EF4-FFF2-40B4-BE49-F238E27FC236}">
                <a16:creationId xmlns:a16="http://schemas.microsoft.com/office/drawing/2014/main" id="{9073BDD8-5DED-5043-B28A-35949B65238C}"/>
              </a:ext>
            </a:extLst>
          </p:cNvPr>
          <p:cNvSpPr txBox="1">
            <a:spLocks/>
          </p:cNvSpPr>
          <p:nvPr/>
        </p:nvSpPr>
        <p:spPr>
          <a:xfrm>
            <a:off x="208548" y="128020"/>
            <a:ext cx="896888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2350" b="0" i="0">
                <a:solidFill>
                  <a:srgbClr val="002060"/>
                </a:solidFill>
                <a:latin typeface="Tahoma"/>
                <a:ea typeface="+mj-ea"/>
                <a:cs typeface="Tahoma"/>
              </a:defRPr>
            </a:lvl1pPr>
          </a:lstStyle>
          <a:p>
            <a:pPr marL="10860"/>
            <a:r>
              <a:rPr lang="en-US" sz="2800" b="1" kern="0" spc="145" dirty="0">
                <a:latin typeface="Myriad Pro" charset="0"/>
              </a:rPr>
              <a:t>OUTLIN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25A9B9A-BFC8-0141-8AE0-03D54062B8B5}"/>
              </a:ext>
            </a:extLst>
          </p:cNvPr>
          <p:cNvGrpSpPr/>
          <p:nvPr/>
        </p:nvGrpSpPr>
        <p:grpSpPr>
          <a:xfrm>
            <a:off x="647088" y="2822760"/>
            <a:ext cx="10897824" cy="688109"/>
            <a:chOff x="782547" y="2602174"/>
            <a:chExt cx="10897824" cy="688109"/>
          </a:xfrm>
        </p:grpSpPr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9B553A3E-A3D6-B448-B7ED-B8DFD5B104DD}"/>
                </a:ext>
              </a:extLst>
            </p:cNvPr>
            <p:cNvSpPr/>
            <p:nvPr/>
          </p:nvSpPr>
          <p:spPr>
            <a:xfrm>
              <a:off x="1012371" y="2602174"/>
              <a:ext cx="10668000" cy="68810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SG" sz="20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sumptions of Regression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C6BBB07-A35B-A546-B154-94EFA221C2B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82547" y="2639125"/>
              <a:ext cx="548714" cy="54864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73152" tIns="73152" rIns="73152" bIns="7315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2000" b="1" kern="0" dirty="0">
                  <a:solidFill>
                    <a:srgbClr val="FFFFFF"/>
                  </a:solidFill>
                  <a:latin typeface="Arial" charset="0"/>
                  <a:ea typeface="ＭＳ Ｐゴシック" charset="0"/>
                  <a:cs typeface="Arial" charset="0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29510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33D3794-ED0F-C140-AF91-06FF045CD46F}"/>
              </a:ext>
            </a:extLst>
          </p:cNvPr>
          <p:cNvSpPr/>
          <p:nvPr/>
        </p:nvSpPr>
        <p:spPr>
          <a:xfrm>
            <a:off x="0" y="0"/>
            <a:ext cx="786063" cy="6858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GB" sz="2800" b="1" dirty="0">
                <a:latin typeface="Myriad Pro Black" panose="020B0403030403020204" pitchFamily="34" charset="0"/>
              </a:rPr>
              <a:t>MINI PROJEC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3C0459A-0955-4643-891C-189BB96C432E}"/>
              </a:ext>
            </a:extLst>
          </p:cNvPr>
          <p:cNvSpPr/>
          <p:nvPr/>
        </p:nvSpPr>
        <p:spPr>
          <a:xfrm>
            <a:off x="952047" y="777688"/>
            <a:ext cx="10935153" cy="591187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C7C7C7">
                <a:lumMod val="20000"/>
                <a:lumOff val="80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SG" sz="3200" kern="0" dirty="0">
              <a:solidFill>
                <a:prstClr val="white"/>
              </a:solidFill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42C74C29-4975-B64C-8B70-898A56D5D61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39270" y="900249"/>
            <a:ext cx="10719593" cy="409143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  <a:miter lim="800000"/>
            <a:headEnd/>
            <a:tailEnd/>
          </a:ln>
        </p:spPr>
        <p:txBody>
          <a:bodyPr wrap="square" lIns="77358" tIns="38001" rIns="77358" bIns="38001" anchor="ctr">
            <a:spAutoFit/>
          </a:bodyPr>
          <a:lstStyle/>
          <a:p>
            <a:pPr algn="ctr" eaLnBrk="0" fontAlgn="base" hangingPunct="0">
              <a:lnSpc>
                <a:spcPct val="90000"/>
              </a:lnSpc>
              <a:spcAft>
                <a:spcPts val="1539"/>
              </a:spcAft>
              <a:buSzPct val="100000"/>
            </a:pPr>
            <a:r>
              <a:rPr lang="en-GB" altLang="ja-JP" sz="2400" b="1" dirty="0">
                <a:solidFill>
                  <a:schemeClr val="bg1"/>
                </a:solidFill>
                <a:latin typeface="Myriad Pro Black" panose="020B0403030403020204" pitchFamily="34" charset="0"/>
                <a:cs typeface="Arial" panose="020B0604020202020204" pitchFamily="34" charset="0"/>
              </a:rPr>
              <a:t>Kaggle House Price Prediction Competi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2E04428-B205-1646-A276-B2EA6C782392}"/>
              </a:ext>
            </a:extLst>
          </p:cNvPr>
          <p:cNvSpPr/>
          <p:nvPr/>
        </p:nvSpPr>
        <p:spPr>
          <a:xfrm>
            <a:off x="1371600" y="1842298"/>
            <a:ext cx="9950335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This Kaggle competition is available at</a:t>
            </a:r>
          </a:p>
          <a:p>
            <a:r>
              <a:rPr lang="en-US" dirty="0">
                <a:hlinkClick r:id="rId3"/>
              </a:rPr>
              <a:t>https://www.kaggle.com/c/house-prices-advanced-regression-techniques/</a:t>
            </a:r>
            <a:endParaRPr lang="en-US" dirty="0"/>
          </a:p>
          <a:p>
            <a:endParaRPr lang="en-US" dirty="0"/>
          </a:p>
          <a:p>
            <a:r>
              <a:rPr lang="en-US" dirty="0"/>
              <a:t>Sign up for Kaggle if you have not</a:t>
            </a:r>
          </a:p>
          <a:p>
            <a:endParaRPr lang="en-US" dirty="0"/>
          </a:p>
          <a:p>
            <a:r>
              <a:rPr lang="en-US" dirty="0"/>
              <a:t>The details of this competition is described in the link. The first step to work in a project is to understand the details of the project and have a glance at the data</a:t>
            </a:r>
          </a:p>
          <a:p>
            <a:endParaRPr lang="en-US" dirty="0"/>
          </a:p>
          <a:p>
            <a:r>
              <a:rPr lang="en-US" dirty="0"/>
              <a:t>Though we do not require you to be competitive in Kaggle, this can be a head-start for working on interesting projec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3342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0FCF1A-62AC-A74C-9D08-20652C34F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688" y="1025623"/>
            <a:ext cx="10486625" cy="677108"/>
          </a:xfrm>
        </p:spPr>
        <p:txBody>
          <a:bodyPr/>
          <a:lstStyle/>
          <a:p>
            <a:r>
              <a:rPr lang="en-US" sz="2800" dirty="0"/>
              <a:t>Some R Data Cleaning </a:t>
            </a:r>
            <a:br>
              <a:rPr lang="en-US" dirty="0"/>
            </a:br>
            <a:r>
              <a:rPr lang="en-US" sz="1600" dirty="0"/>
              <a:t>(should not take more than 2 hours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030ECF-BA16-D44F-99FE-93330B4AFA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12646" y="2439464"/>
            <a:ext cx="8966709" cy="3843232"/>
          </a:xfrm>
        </p:spPr>
        <p:txBody>
          <a:bodyPr/>
          <a:lstStyle/>
          <a:p>
            <a:pPr marL="171450" indent="-171450">
              <a:buFont typeface="Wingdings" pitchFamily="2" charset="2"/>
              <a:buChar char="§"/>
            </a:pPr>
            <a:r>
              <a:rPr lang="en-US" sz="2000" dirty="0"/>
              <a:t>Inspect the data in </a:t>
            </a:r>
            <a:r>
              <a:rPr lang="en-US" sz="2000" dirty="0" err="1"/>
              <a:t>rainfalldataraw.txt</a:t>
            </a:r>
            <a:endParaRPr lang="en-US" sz="2000" dirty="0"/>
          </a:p>
          <a:p>
            <a:pPr marL="171450" indent="-171450">
              <a:buFont typeface="Wingdings" pitchFamily="2" charset="2"/>
              <a:buChar char="§"/>
            </a:pPr>
            <a:r>
              <a:rPr lang="en-US" sz="2000" dirty="0"/>
              <a:t>Column metadata</a:t>
            </a:r>
          </a:p>
          <a:p>
            <a:pPr marL="562402" lvl="1" indent="-171450">
              <a:buFont typeface="Wingdings" pitchFamily="2" charset="2"/>
              <a:buChar char="§"/>
            </a:pPr>
            <a:r>
              <a:rPr lang="en-US" sz="2000" dirty="0"/>
              <a:t>Seeded tells whether the rainfall is collected with cloud seeding or not</a:t>
            </a:r>
          </a:p>
          <a:p>
            <a:pPr marL="562402" lvl="1" indent="-171450">
              <a:buFont typeface="Wingdings" pitchFamily="2" charset="2"/>
              <a:buChar char="§"/>
            </a:pPr>
            <a:r>
              <a:rPr lang="en-US" sz="2000" dirty="0"/>
              <a:t>Season tells whether the season the data is collected</a:t>
            </a:r>
          </a:p>
          <a:p>
            <a:pPr marL="562402" lvl="1" indent="-171450">
              <a:buFont typeface="Wingdings" pitchFamily="2" charset="2"/>
              <a:buChar char="§"/>
            </a:pPr>
            <a:r>
              <a:rPr lang="en-US" sz="2000" dirty="0"/>
              <a:t>A, B, C, D and E are the 5 plots of land where the data is collected</a:t>
            </a:r>
            <a:endParaRPr lang="en-US" sz="2174" dirty="0"/>
          </a:p>
          <a:p>
            <a:pPr marL="562402" lvl="1" indent="-171450">
              <a:buFont typeface="Wingdings" pitchFamily="2" charset="2"/>
              <a:buChar char="§"/>
            </a:pPr>
            <a:endParaRPr lang="en-US" sz="2174" dirty="0"/>
          </a:p>
          <a:p>
            <a:pPr algn="ctr"/>
            <a:r>
              <a:rPr lang="en-US" sz="2400" dirty="0"/>
              <a:t>What is wrong with the data?</a:t>
            </a:r>
          </a:p>
          <a:p>
            <a:pPr algn="ctr"/>
            <a:r>
              <a:rPr lang="en-US" sz="2000" dirty="0"/>
              <a:t>Work together as a class to explore what is wrong</a:t>
            </a:r>
          </a:p>
          <a:p>
            <a:pPr marL="171450" indent="-171450">
              <a:buFont typeface="Wingdings" pitchFamily="2" charset="2"/>
              <a:buChar char="§"/>
            </a:pPr>
            <a:endParaRPr lang="en-US" sz="2400" dirty="0"/>
          </a:p>
          <a:p>
            <a:pPr marL="171450" indent="-171450">
              <a:buFont typeface="Wingdings" pitchFamily="2" charset="2"/>
              <a:buChar char="§"/>
            </a:pPr>
            <a:r>
              <a:rPr lang="en-US" sz="2000" dirty="0"/>
              <a:t>Document your cleaning</a:t>
            </a:r>
          </a:p>
          <a:p>
            <a:pPr marL="562402" lvl="1" indent="-171450">
              <a:buFont typeface="Wingdings" pitchFamily="2" charset="2"/>
              <a:buChar char="§"/>
            </a:pPr>
            <a:r>
              <a:rPr lang="en-US" sz="2000" dirty="0"/>
              <a:t>Save the raw data and the processed data</a:t>
            </a:r>
          </a:p>
          <a:p>
            <a:pPr marL="562402" lvl="1" indent="-171450">
              <a:buFont typeface="Wingdings" pitchFamily="2" charset="2"/>
              <a:buChar char="§"/>
            </a:pPr>
            <a:r>
              <a:rPr lang="en-US" sz="2000" dirty="0"/>
              <a:t>Save the processing script in R or python</a:t>
            </a:r>
          </a:p>
        </p:txBody>
      </p:sp>
    </p:spTree>
    <p:extLst>
      <p:ext uri="{BB962C8B-B14F-4D97-AF65-F5344CB8AC3E}">
        <p14:creationId xmlns:p14="http://schemas.microsoft.com/office/powerpoint/2010/main" val="12286056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EF2AF2-EE78-7C4C-BFD4-D0E66BCD0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688" y="1025623"/>
            <a:ext cx="10486625" cy="430887"/>
          </a:xfrm>
        </p:spPr>
        <p:txBody>
          <a:bodyPr/>
          <a:lstStyle/>
          <a:p>
            <a:r>
              <a:rPr lang="en-US" sz="2800" dirty="0"/>
              <a:t>Data Imput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4D6032-F41E-CA4A-A33F-FC21CC5BEC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12646" y="2023825"/>
            <a:ext cx="8966709" cy="3600986"/>
          </a:xfrm>
        </p:spPr>
        <p:txBody>
          <a:bodyPr/>
          <a:lstStyle/>
          <a:p>
            <a:r>
              <a:rPr lang="en-US" sz="1600" dirty="0"/>
              <a:t>There is missing data in the Kaggle project. What can we do with missing data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Ignore incomplete da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Look at the distribution of missing data and question why they are miss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Impute da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sz="1600" dirty="0"/>
              <a:t>Methods to impute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entralities like mean, median, mode</a:t>
            </a:r>
          </a:p>
          <a:p>
            <a:pPr marL="676702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Why?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KNN imputation</a:t>
            </a:r>
          </a:p>
          <a:p>
            <a:pPr marL="733852" lvl="1" indent="-342900">
              <a:buFont typeface="Wingdings" pitchFamily="2" charset="2"/>
              <a:buChar char="Ø"/>
            </a:pPr>
            <a:r>
              <a:rPr lang="en-US" sz="1400" dirty="0"/>
              <a:t>library(care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gression imputation, cf. MICE (Multivariate Imputation by Chained Equations)</a:t>
            </a:r>
          </a:p>
          <a:p>
            <a:pPr marL="733852" lvl="1" indent="-342900">
              <a:buFont typeface="Wingdings" pitchFamily="2" charset="2"/>
              <a:buChar char="Ø"/>
            </a:pPr>
            <a:r>
              <a:rPr lang="en-US" sz="1400" dirty="0"/>
              <a:t>library(mic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ultiple imputation – a bootstrapping techniq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sz="1600" dirty="0"/>
              <a:t>What are the effects of imputation on the analysis, the resulting decisions …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3471186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C72F8-C9A5-D243-914B-07C18E1EB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688" y="1025623"/>
            <a:ext cx="10486625" cy="430887"/>
          </a:xfrm>
        </p:spPr>
        <p:txBody>
          <a:bodyPr/>
          <a:lstStyle/>
          <a:p>
            <a:r>
              <a:rPr lang="en-US" sz="2800" dirty="0"/>
              <a:t>Assumptions of Regress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778AFF-A258-E943-A49E-D33060AE03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12646" y="1973950"/>
            <a:ext cx="8966709" cy="2215991"/>
          </a:xfrm>
        </p:spPr>
        <p:txBody>
          <a:bodyPr/>
          <a:lstStyle/>
          <a:p>
            <a:r>
              <a:rPr lang="en-US" sz="1800" dirty="0"/>
              <a:t>Linear regression has a solid statistical theory based on the sum of squares loss function</a:t>
            </a:r>
          </a:p>
          <a:p>
            <a:endParaRPr lang="en-US" sz="1800" dirty="0"/>
          </a:p>
          <a:p>
            <a:r>
              <a:rPr lang="en-US" sz="1800" dirty="0"/>
              <a:t>It requires the following assumptions to be valid: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/>
              <a:t>Linear relationship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/>
              <a:t>Normality of residual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/>
              <a:t>No or little multicollinearity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/>
              <a:t>No autocorrel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/>
              <a:t>Homoscedasticity</a:t>
            </a:r>
          </a:p>
        </p:txBody>
      </p:sp>
    </p:spTree>
    <p:extLst>
      <p:ext uri="{BB962C8B-B14F-4D97-AF65-F5344CB8AC3E}">
        <p14:creationId xmlns:p14="http://schemas.microsoft.com/office/powerpoint/2010/main" val="14700014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71D273-AA34-7E4E-84DF-56B243895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688" y="1025623"/>
            <a:ext cx="10486625" cy="430887"/>
          </a:xfrm>
        </p:spPr>
        <p:txBody>
          <a:bodyPr/>
          <a:lstStyle/>
          <a:p>
            <a:r>
              <a:rPr lang="en-US" sz="2800" dirty="0"/>
              <a:t>Assumptions of Regress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C4AB58-702B-EE47-9188-E2E8C12EC0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12646" y="1807698"/>
            <a:ext cx="8966709" cy="4431983"/>
          </a:xfrm>
        </p:spPr>
        <p:txBody>
          <a:bodyPr/>
          <a:lstStyle/>
          <a:p>
            <a:r>
              <a:rPr lang="en-US" sz="1800" b="1" dirty="0"/>
              <a:t>Test for linear relationship in R</a:t>
            </a:r>
          </a:p>
          <a:p>
            <a:endParaRPr lang="en-US" sz="1800" dirty="0"/>
          </a:p>
          <a:p>
            <a:r>
              <a:rPr lang="en-US" sz="1800" dirty="0"/>
              <a:t>Formula = response ~ explanatory_1 + explanatory_2</a:t>
            </a:r>
          </a:p>
          <a:p>
            <a:r>
              <a:rPr lang="en-US" sz="1800" dirty="0"/>
              <a:t>Model = </a:t>
            </a:r>
            <a:r>
              <a:rPr lang="en-US" sz="1800" dirty="0" err="1"/>
              <a:t>lm</a:t>
            </a:r>
            <a:r>
              <a:rPr lang="en-US" sz="1800" dirty="0"/>
              <a:t>(Formula, Data)</a:t>
            </a:r>
          </a:p>
          <a:p>
            <a:r>
              <a:rPr lang="en-US" sz="1800" dirty="0"/>
              <a:t>summary(Model)</a:t>
            </a:r>
          </a:p>
          <a:p>
            <a:endParaRPr lang="en-US" sz="1800" dirty="0"/>
          </a:p>
          <a:p>
            <a:r>
              <a:rPr lang="en-US" sz="1800" b="1" dirty="0"/>
              <a:t>Test for normality of residuals</a:t>
            </a:r>
          </a:p>
          <a:p>
            <a:r>
              <a:rPr lang="en-US" sz="1800" dirty="0"/>
              <a:t>The </a:t>
            </a:r>
            <a:r>
              <a:rPr lang="en-US" sz="1800" dirty="0" err="1"/>
              <a:t>qqplot</a:t>
            </a:r>
            <a:r>
              <a:rPr lang="en-US" sz="1800" dirty="0"/>
              <a:t> should look like a straight line</a:t>
            </a:r>
          </a:p>
          <a:p>
            <a:endParaRPr lang="en-US" sz="1800" dirty="0"/>
          </a:p>
          <a:p>
            <a:r>
              <a:rPr lang="en-US" sz="1800" dirty="0"/>
              <a:t>Residuals = </a:t>
            </a:r>
            <a:r>
              <a:rPr lang="en-US" sz="1800" dirty="0" err="1"/>
              <a:t>rstandard</a:t>
            </a:r>
            <a:r>
              <a:rPr lang="en-US" sz="1800" dirty="0"/>
              <a:t>(Model)</a:t>
            </a:r>
          </a:p>
          <a:p>
            <a:r>
              <a:rPr lang="en-US" sz="1800" dirty="0" err="1"/>
              <a:t>qqnorm</a:t>
            </a:r>
            <a:r>
              <a:rPr lang="en-US" sz="1800" dirty="0"/>
              <a:t>(Residuals)</a:t>
            </a:r>
          </a:p>
          <a:p>
            <a:r>
              <a:rPr lang="en-US" sz="1800" dirty="0" err="1"/>
              <a:t>qqline</a:t>
            </a:r>
            <a:r>
              <a:rPr lang="en-US" sz="1800" dirty="0"/>
              <a:t>(Residuals)</a:t>
            </a:r>
          </a:p>
          <a:p>
            <a:endParaRPr lang="en-US" sz="1800" dirty="0"/>
          </a:p>
          <a:p>
            <a:r>
              <a:rPr lang="en-US" sz="1800" dirty="0"/>
              <a:t>Diagnostics for departure from normality using </a:t>
            </a:r>
            <a:r>
              <a:rPr lang="en-US" sz="1800" dirty="0" err="1"/>
              <a:t>qqplot</a:t>
            </a: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skew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kurtosis</a:t>
            </a:r>
          </a:p>
        </p:txBody>
      </p:sp>
    </p:spTree>
    <p:extLst>
      <p:ext uri="{BB962C8B-B14F-4D97-AF65-F5344CB8AC3E}">
        <p14:creationId xmlns:p14="http://schemas.microsoft.com/office/powerpoint/2010/main" val="25810800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1F130D-0182-D54C-816A-469EDC675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688" y="1025623"/>
            <a:ext cx="10486625" cy="430887"/>
          </a:xfrm>
        </p:spPr>
        <p:txBody>
          <a:bodyPr/>
          <a:lstStyle/>
          <a:p>
            <a:r>
              <a:rPr lang="en-US" sz="2800" dirty="0"/>
              <a:t>Assumptions of Regression</a:t>
            </a:r>
            <a:endParaRPr lang="en-US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C5C2EC-E523-2F45-8F4E-540D470DEC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12646" y="1932387"/>
            <a:ext cx="8966709" cy="3200876"/>
          </a:xfrm>
        </p:spPr>
        <p:txBody>
          <a:bodyPr/>
          <a:lstStyle/>
          <a:p>
            <a:r>
              <a:rPr lang="en-US" sz="1600" dirty="0"/>
              <a:t>Collinearity arises from the design of the regression model, i.e. when independent variables are linearly related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 such situation, certain data points can be huge influence on the final resul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o avoid such sensitivity to particular data points, regularization is often applied.</a:t>
            </a:r>
          </a:p>
          <a:p>
            <a:endParaRPr lang="en-US" sz="1600" dirty="0"/>
          </a:p>
          <a:p>
            <a:r>
              <a:rPr lang="en-US" sz="1600" dirty="0"/>
              <a:t>The goal: reduce the error on the test data</a:t>
            </a:r>
          </a:p>
          <a:p>
            <a:endParaRPr lang="en-US" sz="1600" dirty="0"/>
          </a:p>
          <a:p>
            <a:r>
              <a:rPr lang="en-US" sz="1600" dirty="0"/>
              <a:t>Common methods of regularization in regression are LASSO and ridge regress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y apply a penalty to high coefficients in L1 and L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ASSO promotes sparsity, i.e. variable sel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y can be combined into elastic n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 R, they can be implemented with </a:t>
            </a:r>
            <a:r>
              <a:rPr lang="en-US" sz="1600" dirty="0" err="1"/>
              <a:t>glmnet</a:t>
            </a:r>
            <a:endParaRPr lang="en-US" sz="1600" dirty="0"/>
          </a:p>
          <a:p>
            <a:pPr marL="676702" lvl="1" indent="-285750">
              <a:buFont typeface="Wingdings" pitchFamily="2" charset="2"/>
              <a:buChar char="Ø"/>
            </a:pPr>
            <a:r>
              <a:rPr lang="en-US" sz="1600" dirty="0"/>
              <a:t>library(</a:t>
            </a:r>
            <a:r>
              <a:rPr lang="en-US" sz="1600" dirty="0" err="1"/>
              <a:t>glmnet</a:t>
            </a:r>
            <a:r>
              <a:rPr lang="en-US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6955658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6324F-0293-4940-8091-59A3AF150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688" y="1025623"/>
            <a:ext cx="10486625" cy="430887"/>
          </a:xfrm>
        </p:spPr>
        <p:txBody>
          <a:bodyPr/>
          <a:lstStyle/>
          <a:p>
            <a:r>
              <a:rPr lang="en-US" sz="2800" dirty="0"/>
              <a:t>Assumptions of Regress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F88D78-D396-D042-8658-BEA37F9758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12646" y="2439464"/>
            <a:ext cx="8966709" cy="3570208"/>
          </a:xfrm>
        </p:spPr>
        <p:txBody>
          <a:bodyPr/>
          <a:lstStyle/>
          <a:p>
            <a:r>
              <a:rPr lang="en-US" sz="1800" b="1" dirty="0"/>
              <a:t>Test for absence of autocorrelation</a:t>
            </a:r>
          </a:p>
          <a:p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In R this can be implemented with the </a:t>
            </a:r>
            <a:r>
              <a:rPr lang="en-US" sz="1600" dirty="0" err="1"/>
              <a:t>acf</a:t>
            </a:r>
            <a:r>
              <a:rPr lang="en-US" sz="1600" dirty="0"/>
              <a:t> fun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The lower and upper lines represent the 0.05 confidence interval</a:t>
            </a:r>
          </a:p>
          <a:p>
            <a:pPr marL="562402" lvl="1" indent="-171450">
              <a:buFont typeface="Arial" panose="020B0604020202020204" pitchFamily="34" charset="0"/>
              <a:buChar char="•"/>
            </a:pPr>
            <a:r>
              <a:rPr lang="en-US" dirty="0"/>
              <a:t>Autocorrelation is insignificant if the function remains within these bounds</a:t>
            </a:r>
          </a:p>
          <a:p>
            <a:pPr marL="562402" lvl="1" indent="-171450">
              <a:buFont typeface="Arial" panose="020B0604020202020204" pitchFamily="34" charset="0"/>
              <a:buChar char="•"/>
            </a:pPr>
            <a:r>
              <a:rPr lang="en-US" dirty="0"/>
              <a:t>There will be 0.05 chances for truly random data to give false positive results</a:t>
            </a:r>
          </a:p>
          <a:p>
            <a:pPr marL="562402" lvl="1" indent="-1714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sz="1800" b="1" dirty="0"/>
              <a:t>Test for homoskedasticity</a:t>
            </a:r>
          </a:p>
          <a:p>
            <a:endParaRPr lang="en-US" sz="18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err="1"/>
              <a:t>Goldfeld-Quandt</a:t>
            </a:r>
            <a:r>
              <a:rPr lang="en-US" sz="1800" dirty="0"/>
              <a:t> test is a diagnostic to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In R this is implemented with</a:t>
            </a:r>
          </a:p>
          <a:p>
            <a:pPr marL="676702" lvl="1" indent="-285750">
              <a:buFont typeface="Wingdings" pitchFamily="2" charset="2"/>
              <a:buChar char="Ø"/>
            </a:pPr>
            <a:r>
              <a:rPr lang="en-US" sz="1600" dirty="0"/>
              <a:t>library(</a:t>
            </a:r>
            <a:r>
              <a:rPr lang="en-US" sz="1600" dirty="0" err="1"/>
              <a:t>lmtest</a:t>
            </a:r>
            <a:r>
              <a:rPr lang="en-US" sz="1600" dirty="0"/>
              <a:t>)</a:t>
            </a:r>
          </a:p>
          <a:p>
            <a:pPr marL="676702" lvl="1" indent="-285750">
              <a:buFont typeface="Wingdings" pitchFamily="2" charset="2"/>
              <a:buChar char="Ø"/>
            </a:pPr>
            <a:r>
              <a:rPr lang="en-US" sz="1600" dirty="0" err="1"/>
              <a:t>gqtest</a:t>
            </a:r>
            <a:r>
              <a:rPr lang="en-US" sz="1600" dirty="0"/>
              <a:t>(…)</a:t>
            </a:r>
          </a:p>
        </p:txBody>
      </p:sp>
    </p:spTree>
    <p:extLst>
      <p:ext uri="{BB962C8B-B14F-4D97-AF65-F5344CB8AC3E}">
        <p14:creationId xmlns:p14="http://schemas.microsoft.com/office/powerpoint/2010/main" val="1416504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WDBct9DkqCrxytyheO5g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806</TotalTime>
  <Words>910</Words>
  <Application>Microsoft Macintosh PowerPoint</Application>
  <PresentationFormat>Widescreen</PresentationFormat>
  <Paragraphs>146</Paragraphs>
  <Slides>1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ＭＳ Ｐゴシック</vt:lpstr>
      <vt:lpstr>Arial</vt:lpstr>
      <vt:lpstr>Calibri</vt:lpstr>
      <vt:lpstr>Myriad Pro</vt:lpstr>
      <vt:lpstr>Myriad Pro Black</vt:lpstr>
      <vt:lpstr>Tahoma</vt:lpstr>
      <vt:lpstr>Wingdings</vt:lpstr>
      <vt:lpstr>1_Office Theme</vt:lpstr>
      <vt:lpstr>2_Office Theme</vt:lpstr>
      <vt:lpstr>PowerPoint Presentation</vt:lpstr>
      <vt:lpstr>PowerPoint Presentation</vt:lpstr>
      <vt:lpstr>PowerPoint Presentation</vt:lpstr>
      <vt:lpstr>Some R Data Cleaning  (should not take more than 2 hours)</vt:lpstr>
      <vt:lpstr>Data Imputation</vt:lpstr>
      <vt:lpstr>Assumptions of Regression</vt:lpstr>
      <vt:lpstr>Assumptions of Regression</vt:lpstr>
      <vt:lpstr>Assumptions of Regression</vt:lpstr>
      <vt:lpstr>Assumptions of Regression</vt:lpstr>
      <vt:lpstr>Feature Engineering / Selection</vt:lpstr>
      <vt:lpstr>Feature Engineering / Selection</vt:lpstr>
      <vt:lpstr>Evaluation of Results</vt:lpstr>
      <vt:lpstr>Reporting</vt:lpstr>
    </vt:vector>
  </TitlesOfParts>
  <Manager/>
  <Company/>
  <LinksUpToDate>false</LinksUpToDate>
  <SharedDoc>false</SharedDoc>
  <HyperlinkBase/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Vimaldev</dc:creator>
  <cp:keywords/>
  <dc:description/>
  <cp:lastModifiedBy>Tan Yee Sern</cp:lastModifiedBy>
  <cp:revision>267</cp:revision>
  <dcterms:created xsi:type="dcterms:W3CDTF">2018-03-21T01:48:45Z</dcterms:created>
  <dcterms:modified xsi:type="dcterms:W3CDTF">2018-06-05T05:42:34Z</dcterms:modified>
  <cp:category/>
</cp:coreProperties>
</file>